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presentation.xml" ContentType="application/vnd.openxmlformats-officedocument.presentationml.presentation.main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1.xml" ContentType="application/vnd.openxmlformats-officedocument.presentationml.tags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3"/>
  </p:notesMasterIdLst>
  <p:sldIdLst>
    <p:sldId id="393" r:id="rId2"/>
    <p:sldId id="381" r:id="rId3"/>
    <p:sldId id="382" r:id="rId4"/>
    <p:sldId id="383" r:id="rId5"/>
    <p:sldId id="384" r:id="rId6"/>
    <p:sldId id="385" r:id="rId7"/>
    <p:sldId id="386" r:id="rId8"/>
    <p:sldId id="387" r:id="rId9"/>
    <p:sldId id="388" r:id="rId10"/>
    <p:sldId id="389" r:id="rId11"/>
    <p:sldId id="390" r:id="rId12"/>
  </p:sldIdLst>
  <p:sldSz cx="9144000" cy="5143500" type="screen16x9"/>
  <p:notesSz cx="6858000" cy="9144000"/>
  <p:defaultTextStyle>
    <a:defPPr>
      <a:defRPr lang="en-US"/>
    </a:defPPr>
    <a:lvl1pPr marL="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3429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88" userDrawn="1">
          <p15:clr>
            <a:srgbClr val="A4A3A4"/>
          </p15:clr>
        </p15:guide>
        <p15:guide id="2" orient="horz" pos="3117" userDrawn="1">
          <p15:clr>
            <a:srgbClr val="A4A3A4"/>
          </p15:clr>
        </p15:guide>
        <p15:guide id="3" orient="horz" pos="169" userDrawn="1">
          <p15:clr>
            <a:srgbClr val="A4A3A4"/>
          </p15:clr>
        </p15:guide>
        <p15:guide id="4" orient="horz" pos="1144" userDrawn="1">
          <p15:clr>
            <a:srgbClr val="A4A3A4"/>
          </p15:clr>
        </p15:guide>
        <p15:guide id="5" orient="horz" pos="1575" userDrawn="1">
          <p15:clr>
            <a:srgbClr val="A4A3A4"/>
          </p15:clr>
        </p15:guide>
        <p15:guide id="6" orient="horz" pos="1733" userDrawn="1">
          <p15:clr>
            <a:srgbClr val="A4A3A4"/>
          </p15:clr>
        </p15:guide>
        <p15:guide id="7" orient="horz" pos="1071" userDrawn="1">
          <p15:clr>
            <a:srgbClr val="A4A3A4"/>
          </p15:clr>
        </p15:guide>
        <p15:guide id="8" orient="horz" pos="758" userDrawn="1">
          <p15:clr>
            <a:srgbClr val="A4A3A4"/>
          </p15:clr>
        </p15:guide>
        <p15:guide id="9" orient="horz" pos="1416" userDrawn="1">
          <p15:clr>
            <a:srgbClr val="A4A3A4"/>
          </p15:clr>
        </p15:guide>
        <p15:guide id="10" orient="horz" pos="1892" userDrawn="1">
          <p15:clr>
            <a:srgbClr val="A4A3A4"/>
          </p15:clr>
        </p15:guide>
        <p15:guide id="11" orient="horz" pos="2051" userDrawn="1">
          <p15:clr>
            <a:srgbClr val="A4A3A4"/>
          </p15:clr>
        </p15:guide>
        <p15:guide id="12" pos="2653" userDrawn="1">
          <p15:clr>
            <a:srgbClr val="A4A3A4"/>
          </p15:clr>
        </p15:guide>
        <p15:guide id="13" pos="5352" userDrawn="1">
          <p15:clr>
            <a:srgbClr val="A4A3A4"/>
          </p15:clr>
        </p15:guide>
        <p15:guide id="14" pos="3991" userDrawn="1">
          <p15:clr>
            <a:srgbClr val="A4A3A4"/>
          </p15:clr>
        </p15:guide>
        <p15:guide id="15" orient="horz" pos="221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90B8F4"/>
    <a:srgbClr val="A8C8F6"/>
    <a:srgbClr val="FF3700"/>
    <a:srgbClr val="0099FF"/>
    <a:srgbClr val="9BD4FF"/>
    <a:srgbClr val="85CBFF"/>
    <a:srgbClr val="1111D5"/>
    <a:srgbClr val="696969"/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219" autoAdjust="0"/>
    <p:restoredTop sz="94660"/>
  </p:normalViewPr>
  <p:slideViewPr>
    <p:cSldViewPr snapToGrid="0" showGuides="1">
      <p:cViewPr>
        <p:scale>
          <a:sx n="172" d="100"/>
          <a:sy n="172" d="100"/>
        </p:scale>
        <p:origin x="4360" y="2136"/>
      </p:cViewPr>
      <p:guideLst>
        <p:guide pos="288"/>
        <p:guide orient="horz" pos="3117"/>
        <p:guide orient="horz" pos="169"/>
        <p:guide orient="horz" pos="1144"/>
        <p:guide orient="horz" pos="1575"/>
        <p:guide orient="horz" pos="1733"/>
        <p:guide orient="horz" pos="1071"/>
        <p:guide orient="horz" pos="758"/>
        <p:guide orient="horz" pos="1416"/>
        <p:guide orient="horz" pos="1892"/>
        <p:guide orient="horz" pos="2051"/>
        <p:guide pos="2653"/>
        <p:guide pos="5352"/>
        <p:guide pos="3991"/>
        <p:guide orient="horz" pos="221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customXml" Target="../customXml/item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20" Type="http://schemas.openxmlformats.org/officeDocument/2006/relationships/customXml" Target="../customXml/item3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customXml" Target="../customXml/item2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E15FB2C-D0D5-49A9-98F1-925E2C0F6A9D}" type="datetimeFigureOut">
              <a:rPr lang="en-GB" smtClean="0"/>
              <a:t>07/06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2AC812A-DEDA-4792-8F26-E53EDDBE7EB9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483001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307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7" name="Rectangle 5">
            <a:extLst>
              <a:ext uri="{FF2B5EF4-FFF2-40B4-BE49-F238E27FC236}">
                <a16:creationId xmlns:a16="http://schemas.microsoft.com/office/drawing/2014/main" id="{DE65D08B-79C9-485D-A876-9F63BA201D0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8" name="Date Placeholder 3">
            <a:extLst>
              <a:ext uri="{FF2B5EF4-FFF2-40B4-BE49-F238E27FC236}">
                <a16:creationId xmlns:a16="http://schemas.microsoft.com/office/drawing/2014/main" id="{6D7F194B-4125-45EA-9042-E9682F33786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07/06/2022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D9F456D-96F7-432C-BDF2-58A8B055AD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50307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pos="5567" userDrawn="1">
          <p15:clr>
            <a:srgbClr val="FBAE40"/>
          </p15:clr>
        </p15:guide>
        <p15:guide id="3" orient="horz" pos="599" userDrawn="1">
          <p15:clr>
            <a:srgbClr val="FBAE40"/>
          </p15:clr>
        </p15:guide>
        <p15:guide id="4" orient="horz" pos="2539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100" y="270000"/>
            <a:ext cx="8514009" cy="513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1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tx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5101" y="1539000"/>
            <a:ext cx="4049687" cy="2916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7700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tx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0314" y="1539000"/>
            <a:ext cx="4049687" cy="2916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C0269937-71BB-431E-9FD6-143D300E3E83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54D18F0B-AD1B-4280-9391-E43F6EE6E20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F61CD0A1-F5EF-454F-91DF-8A01F4A3E72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07/06/2022</a:t>
            </a:fld>
            <a:endParaRPr lang="en-GB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1F8FFF5C-1BC2-8D4B-85B4-42B048AB0E8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839576AB-B6C8-0848-97E2-44017EC4E3D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6942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811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7700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bg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0314" y="1539000"/>
            <a:ext cx="4049687" cy="2916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0C06F53-3CC1-4031-A3A6-25EFE8BFF454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05991" y="945000"/>
            <a:ext cx="4050000" cy="3510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Rectangle 6">
            <a:extLst>
              <a:ext uri="{FF2B5EF4-FFF2-40B4-BE49-F238E27FC236}">
                <a16:creationId xmlns:a16="http://schemas.microsoft.com/office/drawing/2014/main" id="{DE3679C8-D7F6-42B6-A820-69300FFA830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C89FDE3E-96D4-4AD1-9713-69A9346A8087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4849DF84-F6E7-4FC4-BE68-958DE9AB19B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07/06/2022</a:t>
            </a:fld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E09E86CD-F177-9C47-B9E0-ED1CACFA120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4567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11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7700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tx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0314" y="1539000"/>
            <a:ext cx="4049687" cy="2916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B9A679CA-26BE-4AEB-AE86-9549F8207E2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D92FE2F2-12F1-48D8-B264-6B2C7808A9FF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676097A1-4426-4925-8ED0-37212128E6E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07/06/2022</a:t>
            </a:fld>
            <a:endParaRPr lang="en-GB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90499720-C445-D94C-A2E8-033061F5E066}"/>
              </a:ext>
            </a:extLst>
          </p:cNvPr>
          <p:cNvSpPr>
            <a:spLocks noGrp="1"/>
          </p:cNvSpPr>
          <p:nvPr>
            <p:ph sz="half" idx="16"/>
          </p:nvPr>
        </p:nvSpPr>
        <p:spPr>
          <a:xfrm>
            <a:off x="305991" y="945000"/>
            <a:ext cx="4050000" cy="3510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1C93D6FB-A976-0D42-A7E1-B7FC0FEC77C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D46ECE55-60D8-1D42-B1F2-A7147B7F662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690197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811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gram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6E4E9AD-2161-43DE-9632-5D104F87BD7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770000" y="945000"/>
            <a:ext cx="4050000" cy="30780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1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bg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5101" y="1539000"/>
            <a:ext cx="4049687" cy="2484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50ABBE-577D-4E00-9DB0-45362722D6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05991" y="4131000"/>
            <a:ext cx="8514009" cy="310500"/>
          </a:xfrm>
          <a:solidFill>
            <a:schemeClr val="accent6"/>
          </a:solidFill>
        </p:spPr>
        <p:txBody>
          <a:bodyPr lIns="90000" rIns="90000" anchor="ctr"/>
          <a:lstStyle>
            <a:lvl1pPr marL="563" indent="0">
              <a:buNone/>
              <a:defRPr sz="1200" b="1">
                <a:solidFill>
                  <a:schemeClr val="tx1"/>
                </a:solidFill>
              </a:defRPr>
            </a:lvl1pPr>
            <a:lvl2pPr marL="201403" indent="0">
              <a:buNone/>
              <a:defRPr sz="1200" b="1">
                <a:solidFill>
                  <a:schemeClr val="bg1"/>
                </a:solidFill>
              </a:defRPr>
            </a:lvl2pPr>
            <a:lvl3pPr marL="408384" indent="0">
              <a:buNone/>
              <a:defRPr sz="1200" b="1">
                <a:solidFill>
                  <a:schemeClr val="bg1"/>
                </a:solidFill>
              </a:defRPr>
            </a:lvl3pPr>
            <a:lvl4pPr marL="608410" indent="0">
              <a:buNone/>
              <a:defRPr sz="1200" b="1">
                <a:solidFill>
                  <a:schemeClr val="bg1"/>
                </a:solidFill>
              </a:defRPr>
            </a:lvl4pPr>
            <a:lvl5pPr marL="81200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899AAB31-0C28-4F5C-8211-6792AD6BAEB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73E5C5B2-229A-4AE8-80AE-98482FD29304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CD79415E-1EEA-4ABA-9894-961154D561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07/06/2022</a:t>
            </a:fld>
            <a:endParaRPr lang="en-GB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3261DD9-017C-BC45-B9E9-4A289EB4EE6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98900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pos="193" userDrawn="1">
          <p15:clr>
            <a:srgbClr val="FBAE40"/>
          </p15:clr>
        </p15:guide>
        <p15:guide id="3" pos="5567" userDrawn="1">
          <p15:clr>
            <a:srgbClr val="FBAE40"/>
          </p15:clr>
        </p15:guide>
        <p15:guide id="4" orient="horz" pos="253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Diagram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6E4E9AD-2161-43DE-9632-5D104F87BD7D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770000" y="945000"/>
            <a:ext cx="4050000" cy="307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991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tx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6305" y="1539000"/>
            <a:ext cx="4049687" cy="2484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2050ABBE-577D-4E00-9DB0-45362722D6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05991" y="4131000"/>
            <a:ext cx="8514009" cy="310500"/>
          </a:xfrm>
          <a:solidFill>
            <a:schemeClr val="accent6"/>
          </a:solidFill>
        </p:spPr>
        <p:txBody>
          <a:bodyPr lIns="90000" rIns="90000" anchor="ctr"/>
          <a:lstStyle>
            <a:lvl1pPr marL="563" indent="0">
              <a:buNone/>
              <a:defRPr sz="1200" b="1">
                <a:solidFill>
                  <a:schemeClr val="tx1"/>
                </a:solidFill>
              </a:defRPr>
            </a:lvl1pPr>
            <a:lvl2pPr marL="201403" indent="0">
              <a:buNone/>
              <a:defRPr sz="1200" b="1">
                <a:solidFill>
                  <a:schemeClr val="bg1"/>
                </a:solidFill>
              </a:defRPr>
            </a:lvl2pPr>
            <a:lvl3pPr marL="408384" indent="0">
              <a:buNone/>
              <a:defRPr sz="1200" b="1">
                <a:solidFill>
                  <a:schemeClr val="bg1"/>
                </a:solidFill>
              </a:defRPr>
            </a:lvl3pPr>
            <a:lvl4pPr marL="608410" indent="0">
              <a:buNone/>
              <a:defRPr sz="1200" b="1">
                <a:solidFill>
                  <a:schemeClr val="bg1"/>
                </a:solidFill>
              </a:defRPr>
            </a:lvl4pPr>
            <a:lvl5pPr marL="812006" indent="0">
              <a:buNone/>
              <a:defRPr sz="12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Rectangle 6">
            <a:extLst>
              <a:ext uri="{FF2B5EF4-FFF2-40B4-BE49-F238E27FC236}">
                <a16:creationId xmlns:a16="http://schemas.microsoft.com/office/drawing/2014/main" id="{373669A0-0EBD-4456-867A-A9328E82891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9" name="Rectangle 5">
            <a:extLst>
              <a:ext uri="{FF2B5EF4-FFF2-40B4-BE49-F238E27FC236}">
                <a16:creationId xmlns:a16="http://schemas.microsoft.com/office/drawing/2014/main" id="{01D65FF6-D640-4BF1-BF72-8E43AE10D453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20" name="Date Placeholder 3">
            <a:extLst>
              <a:ext uri="{FF2B5EF4-FFF2-40B4-BE49-F238E27FC236}">
                <a16:creationId xmlns:a16="http://schemas.microsoft.com/office/drawing/2014/main" id="{E6EF7406-C576-4848-97C7-AAA7FC1757F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07/06/2022</a:t>
            </a:fld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EC582A0E-9430-634A-9419-DFBA800AECE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1A29E133-93B4-2F44-87CD-5B71EE62D06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5920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539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05991" y="2241000"/>
            <a:ext cx="8514009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table</a:t>
            </a:r>
            <a:endParaRPr lang="en-GB" dirty="0"/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FD5AA67F-D774-4717-932C-F0B29822B90E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4" name="Rectangle 5">
            <a:extLst>
              <a:ext uri="{FF2B5EF4-FFF2-40B4-BE49-F238E27FC236}">
                <a16:creationId xmlns:a16="http://schemas.microsoft.com/office/drawing/2014/main" id="{FBA5458A-D52A-4182-9D4F-B733461BD03F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3B4092C3-EE46-4DDC-9B63-41F7B0856C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07/06/2022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1A7F938-8874-D547-8D0E-7CDD13CA79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2819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828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1" y="2241000"/>
            <a:ext cx="8514009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A284587B-1CDA-4876-A793-514BF8C6E91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A34C3E2D-DFBD-4199-9925-A48E0A0840B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853F276A-A474-4D15-B610-649F7439CFE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07/06/2022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D49E691-BB78-AD4F-9E18-1D3065F2A32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440778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828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05991" y="2241000"/>
            <a:ext cx="8514009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C864E540-FF59-4025-8314-E98F695F9301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A6C897A3-6BB6-4DE3-A141-15C36C89E8F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1B1DC07-E33B-4ABF-8144-061A20796FD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07/06/2022</a:t>
            </a:fld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1988E372-5EE9-7642-AB53-E7282EA4FF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0DCA48CE-0CC7-7246-AC4A-F253A445FC6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5307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828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1" y="2241000"/>
            <a:ext cx="8514009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31D130F5-5749-41B7-83E7-606999E8164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CDEA80CA-6343-47F9-8111-C0231C91CB7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B6BF80E-F726-4844-9E12-485EE1B5510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07/06/2022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5062487-7D01-E446-ABAA-916EA777020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CD7CC6F3-F341-3943-BBB4-4F6FB874580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3489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pos="5567" userDrawn="1">
          <p15:clr>
            <a:srgbClr val="FBAE40"/>
          </p15:clr>
        </p15:guide>
        <p15:guide id="3" orient="horz" pos="2828" userDrawn="1">
          <p15:clr>
            <a:srgbClr val="FBAE40"/>
          </p15:clr>
        </p15:guide>
        <p15:guide id="4" orient="horz" pos="599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1" y="1350000"/>
            <a:ext cx="8514009" cy="2862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chart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F83CBA1-C6E0-4CB0-8A5A-295EFEC839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5991" y="945000"/>
            <a:ext cx="8514009" cy="243000"/>
          </a:xfrm>
        </p:spPr>
        <p:txBody>
          <a:bodyPr/>
          <a:lstStyle>
            <a:lvl1pPr marL="563" indent="0">
              <a:buNone/>
              <a:defRPr sz="1000"/>
            </a:lvl1pPr>
            <a:lvl2pPr marL="201403" indent="0">
              <a:buNone/>
              <a:defRPr/>
            </a:lvl2pPr>
            <a:lvl3pPr marL="408384" indent="0">
              <a:buNone/>
              <a:defRPr/>
            </a:lvl3pPr>
            <a:lvl4pPr marL="608410" indent="0">
              <a:buNone/>
              <a:defRPr/>
            </a:lvl4pPr>
            <a:lvl5pPr marL="812006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5991" y="4266000"/>
            <a:ext cx="7041600" cy="270000"/>
          </a:xfrm>
        </p:spPr>
        <p:txBody>
          <a:bodyPr/>
          <a:lstStyle>
            <a:lvl1pPr marL="563" indent="0">
              <a:buNone/>
              <a:defRPr sz="600"/>
            </a:lvl1pPr>
            <a:lvl2pPr marL="201403" indent="0">
              <a:buNone/>
              <a:defRPr sz="600"/>
            </a:lvl2pPr>
            <a:lvl3pPr marL="408384" indent="0">
              <a:buNone/>
              <a:defRPr sz="600"/>
            </a:lvl3pPr>
            <a:lvl4pPr marL="608410" indent="0">
              <a:buNone/>
              <a:defRPr sz="600"/>
            </a:lvl4pPr>
            <a:lvl5pPr marL="812006" indent="0">
              <a:buNone/>
              <a:defRPr sz="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1" name="Rectangle 6">
            <a:extLst>
              <a:ext uri="{FF2B5EF4-FFF2-40B4-BE49-F238E27FC236}">
                <a16:creationId xmlns:a16="http://schemas.microsoft.com/office/drawing/2014/main" id="{0F33A73F-A895-4C94-95A9-FA03D023DC8B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C3854CEC-8BEC-4939-A1B8-8CF31401923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89176665-5609-4739-99EF-C6DD9E6EEB9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07/06/2022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2714CB-08FE-0E43-B4B6-AF59CE0D600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51600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pos="5551" userDrawn="1">
          <p15:clr>
            <a:srgbClr val="FBAE40"/>
          </p15:clr>
        </p15:guide>
        <p15:guide id="3" orient="horz" pos="583" userDrawn="1">
          <p15:clr>
            <a:srgbClr val="FBAE40"/>
          </p15:clr>
        </p15:guide>
        <p15:guide id="4" orient="horz" pos="2657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3078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Rectangle 6">
            <a:extLst>
              <a:ext uri="{FF2B5EF4-FFF2-40B4-BE49-F238E27FC236}">
                <a16:creationId xmlns:a16="http://schemas.microsoft.com/office/drawing/2014/main" id="{5703CFA7-A538-4501-859A-21256EBD78A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87C43110-7893-4132-8872-7964F9A4CE7A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AA44342B-3089-4622-91B7-14FDB45E49D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07/06/2022</a:t>
            </a:fld>
            <a:endParaRPr lang="en-GB" dirty="0"/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E5E5C279-D9D3-4F4D-A16B-830F2086E5C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60D11CD-153A-014B-8473-9D9528003D8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22918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orient="horz" pos="2539" userDrawn="1">
          <p15:clr>
            <a:srgbClr val="FBAE40"/>
          </p15:clr>
        </p15:guide>
        <p15:guide id="4" pos="193" userDrawn="1">
          <p15:clr>
            <a:srgbClr val="FBAE40"/>
          </p15:clr>
        </p15:guide>
        <p15:guide id="5" pos="5567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1" y="1350000"/>
            <a:ext cx="8514009" cy="2862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F83CBA1-C6E0-4CB0-8A5A-295EFEC839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05991" y="945000"/>
            <a:ext cx="8514009" cy="243000"/>
          </a:xfrm>
        </p:spPr>
        <p:txBody>
          <a:bodyPr/>
          <a:lstStyle>
            <a:lvl1pPr marL="563" indent="0">
              <a:buNone/>
              <a:defRPr sz="1000"/>
            </a:lvl1pPr>
            <a:lvl2pPr marL="201403" indent="0">
              <a:buNone/>
              <a:defRPr/>
            </a:lvl2pPr>
            <a:lvl3pPr marL="408384" indent="0">
              <a:buNone/>
              <a:defRPr/>
            </a:lvl3pPr>
            <a:lvl4pPr marL="608410" indent="0">
              <a:buNone/>
              <a:defRPr/>
            </a:lvl4pPr>
            <a:lvl5pPr marL="812006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5991" y="4266000"/>
            <a:ext cx="7041600" cy="270000"/>
          </a:xfrm>
        </p:spPr>
        <p:txBody>
          <a:bodyPr/>
          <a:lstStyle>
            <a:lvl1pPr marL="563" indent="0">
              <a:buNone/>
              <a:defRPr sz="600"/>
            </a:lvl1pPr>
            <a:lvl2pPr marL="201403" indent="0">
              <a:buNone/>
              <a:defRPr sz="600"/>
            </a:lvl2pPr>
            <a:lvl3pPr marL="408384" indent="0">
              <a:buNone/>
              <a:defRPr sz="600"/>
            </a:lvl3pPr>
            <a:lvl4pPr marL="608410" indent="0">
              <a:buNone/>
              <a:defRPr sz="600"/>
            </a:lvl4pPr>
            <a:lvl5pPr marL="812006" indent="0">
              <a:buNone/>
              <a:defRPr sz="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81CF5AC5-B762-40BA-8D84-8B53B1913B7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19275034-B9ED-4823-909A-12B30A9F76D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688FE6AD-0E6A-4DFF-968C-8FA51A58318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07/06/2022</a:t>
            </a:fld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6CE05C8B-8078-CA41-9702-0441C6AE5C3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2582F237-FB01-4B47-8BC9-C65B9519715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25252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657" userDrawn="1">
          <p15:clr>
            <a:srgbClr val="FBAE40"/>
          </p15:clr>
        </p15:guide>
        <p15:guide id="3" pos="5567" userDrawn="1">
          <p15:clr>
            <a:srgbClr val="FBAE40"/>
          </p15:clr>
        </p15:guide>
        <p15:guide id="4" pos="193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75AC73C6-6E18-46C5-88C8-50B136E794A2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306305" y="945356"/>
            <a:ext cx="8531705" cy="3267075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5991" y="4266000"/>
            <a:ext cx="7041600" cy="270000"/>
          </a:xfrm>
        </p:spPr>
        <p:txBody>
          <a:bodyPr/>
          <a:lstStyle>
            <a:lvl1pPr marL="563" indent="0">
              <a:buNone/>
              <a:defRPr sz="600"/>
            </a:lvl1pPr>
            <a:lvl2pPr marL="201403" indent="0">
              <a:buNone/>
              <a:defRPr sz="600"/>
            </a:lvl2pPr>
            <a:lvl3pPr marL="408384" indent="0">
              <a:buNone/>
              <a:defRPr sz="600"/>
            </a:lvl3pPr>
            <a:lvl4pPr marL="608410" indent="0">
              <a:buNone/>
              <a:defRPr sz="600"/>
            </a:lvl4pPr>
            <a:lvl5pPr marL="812006" indent="0">
              <a:buNone/>
              <a:defRPr sz="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A0C41700-2D2A-45F9-9EDA-9C15BE259D2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F9146766-47FE-4CE2-AE7C-090A18DDE4A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0BDAAD77-6F4E-44AE-B736-747FA11E60A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07/06/2022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5036206-DB40-0946-90A7-F57B72D4717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02510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657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75AC73C6-6E18-46C5-88C8-50B136E794A2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305991" y="945356"/>
            <a:ext cx="8514160" cy="3267075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674" y="270000"/>
            <a:ext cx="8514326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B089D0-2AB9-4B3B-B3F0-FBDDC33A8B2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5991" y="4266000"/>
            <a:ext cx="7041600" cy="270000"/>
          </a:xfrm>
        </p:spPr>
        <p:txBody>
          <a:bodyPr/>
          <a:lstStyle>
            <a:lvl1pPr marL="563" indent="0">
              <a:buNone/>
              <a:defRPr sz="600"/>
            </a:lvl1pPr>
            <a:lvl2pPr marL="201403" indent="0">
              <a:buNone/>
              <a:defRPr sz="600"/>
            </a:lvl2pPr>
            <a:lvl3pPr marL="408384" indent="0">
              <a:buNone/>
              <a:defRPr sz="600"/>
            </a:lvl3pPr>
            <a:lvl4pPr marL="608410" indent="0">
              <a:buNone/>
              <a:defRPr sz="600"/>
            </a:lvl4pPr>
            <a:lvl5pPr marL="812006" indent="0">
              <a:buNone/>
              <a:defRPr sz="600"/>
            </a:lvl5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EC811AB3-08A2-42D8-BAD1-10F430F806C0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101D9CA6-E7A6-4F8E-BCDC-92FD8C517F81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51CFB748-A719-4D85-A6DD-3352DA8AD67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07/06/2022</a:t>
            </a:fld>
            <a:endParaRPr lang="en-GB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4FCE512-B788-2743-B24C-33F98E72A07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00632BB2-6CFF-5A4D-A38F-68125D8B47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250195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orient="horz" pos="2657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wo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05991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9" name="Table Placeholder 5">
            <a:extLst>
              <a:ext uri="{FF2B5EF4-FFF2-40B4-BE49-F238E27FC236}">
                <a16:creationId xmlns:a16="http://schemas.microsoft.com/office/drawing/2014/main" id="{FF7CB893-ACDD-4BB0-BC38-42EE020F3CA8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770000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14" name="Rectangle 6">
            <a:extLst>
              <a:ext uri="{FF2B5EF4-FFF2-40B4-BE49-F238E27FC236}">
                <a16:creationId xmlns:a16="http://schemas.microsoft.com/office/drawing/2014/main" id="{AD34DC55-E80B-49CF-A9E7-E92A3344AB0E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5" name="Rectangle 5">
            <a:extLst>
              <a:ext uri="{FF2B5EF4-FFF2-40B4-BE49-F238E27FC236}">
                <a16:creationId xmlns:a16="http://schemas.microsoft.com/office/drawing/2014/main" id="{F817B644-46E0-4874-8B2A-29A19663A0D4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DF727A25-77B3-467E-80AA-72599073E3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07/06/2022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8FB3978-8071-6A4A-BCD0-E327E9870B0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220444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pos="193" userDrawn="1">
          <p15:clr>
            <a:srgbClr val="FBAE40"/>
          </p15:clr>
        </p15:guide>
        <p15:guide id="3" orient="horz" pos="2828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&amp;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1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1" name="Chart Placeholder 8">
            <a:extLst>
              <a:ext uri="{FF2B5EF4-FFF2-40B4-BE49-F238E27FC236}">
                <a16:creationId xmlns:a16="http://schemas.microsoft.com/office/drawing/2014/main" id="{B54D2430-5E30-4831-9D2C-A3ABFEB23AE3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770000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2C232D2C-F4B9-45D5-AD68-A4F184191889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6" name="Rectangle 5">
            <a:extLst>
              <a:ext uri="{FF2B5EF4-FFF2-40B4-BE49-F238E27FC236}">
                <a16:creationId xmlns:a16="http://schemas.microsoft.com/office/drawing/2014/main" id="{96571FD5-A86C-4B93-BC84-347668B986A6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CBBF4B1A-5C5F-4934-A0FE-ABF3029C3B3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07/06/2022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1A61384-CC6B-8D49-862E-AFC7F823E33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06240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828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Two Tabl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able Placeholder 5">
            <a:extLst>
              <a:ext uri="{FF2B5EF4-FFF2-40B4-BE49-F238E27FC236}">
                <a16:creationId xmlns:a16="http://schemas.microsoft.com/office/drawing/2014/main" id="{FBEFD6C2-91B4-4CD4-9A79-D05CB40D8D0D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305991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9" name="Table Placeholder 5">
            <a:extLst>
              <a:ext uri="{FF2B5EF4-FFF2-40B4-BE49-F238E27FC236}">
                <a16:creationId xmlns:a16="http://schemas.microsoft.com/office/drawing/2014/main" id="{FF7CB893-ACDD-4BB0-BC38-42EE020F3CA8}"/>
              </a:ext>
            </a:extLst>
          </p:cNvPr>
          <p:cNvSpPr>
            <a:spLocks noGrp="1"/>
          </p:cNvSpPr>
          <p:nvPr>
            <p:ph type="tbl" sz="quarter" idx="13"/>
          </p:nvPr>
        </p:nvSpPr>
        <p:spPr>
          <a:xfrm>
            <a:off x="4770000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table</a:t>
            </a:r>
            <a:endParaRPr lang="en-GB"/>
          </a:p>
        </p:txBody>
      </p:sp>
      <p:sp>
        <p:nvSpPr>
          <p:cNvPr id="16" name="Rectangle 6">
            <a:extLst>
              <a:ext uri="{FF2B5EF4-FFF2-40B4-BE49-F238E27FC236}">
                <a16:creationId xmlns:a16="http://schemas.microsoft.com/office/drawing/2014/main" id="{7FD265D2-2064-42AD-838B-312D03F08D0A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8" name="Rectangle 5">
            <a:extLst>
              <a:ext uri="{FF2B5EF4-FFF2-40B4-BE49-F238E27FC236}">
                <a16:creationId xmlns:a16="http://schemas.microsoft.com/office/drawing/2014/main" id="{7EE3BA67-9DF6-413F-A0AA-4A4C9D1C0007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3BE80059-ABCE-424A-BF38-C05EF8156A1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07/06/2022</a:t>
            </a:fld>
            <a:endParaRPr lang="en-GB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A64D043F-8789-0248-A98A-F359DBA723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4EF6FA21-336A-F647-B102-51992C59DF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6033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orient="horz" pos="2828" userDrawn="1">
          <p15:clr>
            <a:srgbClr val="FBAE40"/>
          </p15:clr>
        </p15:guide>
        <p15:guide id="3" pos="193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, Text &amp;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8">
            <a:extLst>
              <a:ext uri="{FF2B5EF4-FFF2-40B4-BE49-F238E27FC236}">
                <a16:creationId xmlns:a16="http://schemas.microsoft.com/office/drawing/2014/main" id="{339FEA5C-F0F7-4DC8-A3CB-4F59CD62336D}"/>
              </a:ext>
            </a:extLst>
          </p:cNvPr>
          <p:cNvSpPr>
            <a:spLocks noGrp="1"/>
          </p:cNvSpPr>
          <p:nvPr>
            <p:ph type="chart" sz="quarter" idx="12"/>
          </p:nvPr>
        </p:nvSpPr>
        <p:spPr>
          <a:xfrm>
            <a:off x="305991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1" name="Chart Placeholder 8">
            <a:extLst>
              <a:ext uri="{FF2B5EF4-FFF2-40B4-BE49-F238E27FC236}">
                <a16:creationId xmlns:a16="http://schemas.microsoft.com/office/drawing/2014/main" id="{B54D2430-5E30-4831-9D2C-A3ABFEB23AE3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4770000" y="2241000"/>
            <a:ext cx="4050000" cy="2241000"/>
          </a:xfrm>
        </p:spPr>
        <p:txBody>
          <a:bodyPr/>
          <a:lstStyle>
            <a:lvl1pPr marL="563" indent="0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3D647285-0A70-4B0F-A4C8-541863FDE5C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77D9EE39-E56E-4D83-99EB-1D9D8F3A422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DB70ECA8-6881-4CCD-BC17-AE4B79470A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07/06/2022</a:t>
            </a:fld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14C3CA4E-7F21-304D-9F4A-8B07248A6B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D7F40858-2CD7-FE45-A2F8-0FDCC2F29C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17427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pos="5567" userDrawn="1">
          <p15:clr>
            <a:srgbClr val="FBAE40"/>
          </p15:clr>
        </p15:guide>
        <p15:guide id="3" orient="horz" pos="599" userDrawn="1">
          <p15:clr>
            <a:srgbClr val="FBAE40"/>
          </p15:clr>
        </p15:guide>
        <p15:guide id="4" orient="horz" pos="2828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-line Title, Text &amp; Two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1215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3D647285-0A70-4B0F-A4C8-541863FDE5C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77D9EE39-E56E-4D83-99EB-1D9D8F3A4220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9" name="Date Placeholder 3">
            <a:extLst>
              <a:ext uri="{FF2B5EF4-FFF2-40B4-BE49-F238E27FC236}">
                <a16:creationId xmlns:a16="http://schemas.microsoft.com/office/drawing/2014/main" id="{DB70ECA8-6881-4CCD-BC17-AE4B79470A8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07/06/2022</a:t>
            </a:fld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44E4E7-45AA-3E4A-95AB-894672A419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06388" y="2242037"/>
            <a:ext cx="4049603" cy="2239963"/>
          </a:xfrm>
        </p:spPr>
        <p:txBody>
          <a:bodyPr/>
          <a:lstStyle/>
          <a:p>
            <a:pPr lvl="0"/>
            <a:r>
              <a:rPr lang="en-GB" dirty="0"/>
              <a:t>Click to edit Master text styles</a:t>
            </a:r>
          </a:p>
          <a:p>
            <a:pPr lvl="1"/>
            <a:r>
              <a:rPr lang="en-GB" dirty="0"/>
              <a:t>Second level</a:t>
            </a:r>
          </a:p>
          <a:p>
            <a:pPr lvl="2"/>
            <a:r>
              <a:rPr lang="en-GB" dirty="0"/>
              <a:t>Third level</a:t>
            </a:r>
          </a:p>
          <a:p>
            <a:pPr lvl="3"/>
            <a:r>
              <a:rPr lang="en-GB" dirty="0"/>
              <a:t>Fourth level</a:t>
            </a:r>
          </a:p>
          <a:p>
            <a:pPr lvl="4"/>
            <a:r>
              <a:rPr lang="en-GB" dirty="0"/>
              <a:t>Fifth level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36415DFC-9328-B14E-A285-03ABEF15552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770438" y="2242036"/>
            <a:ext cx="4049712" cy="2239963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690044A0-A316-E247-A000-7A157FEF2EC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27099E3C-EACD-DE47-9BC7-99AC4CB611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09711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pos="5567" userDrawn="1">
          <p15:clr>
            <a:srgbClr val="FBAE40"/>
          </p15:clr>
        </p15:guide>
        <p15:guide id="3" orient="horz" pos="599" userDrawn="1">
          <p15:clr>
            <a:srgbClr val="FBAE40"/>
          </p15:clr>
        </p15:guide>
        <p15:guide id="4" orient="horz" pos="2828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3EF3E35-7BAC-4DAC-BF73-B39646774A9D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4E0521D8-6A60-4405-94E6-87B45B43D5AB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4F3790A2-3ED4-476F-AF15-FF864ED2281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07/06/2022</a:t>
            </a:fld>
            <a:endParaRPr lang="en-GB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FA1B33D0-BDFD-A646-8606-99083F58B0E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631559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pos="5567" userDrawn="1">
          <p15:clr>
            <a:srgbClr val="FBAE40"/>
          </p15:clr>
        </p15:guide>
        <p15:guide id="3" orient="horz" pos="599" userDrawn="1">
          <p15:clr>
            <a:srgbClr val="FBAE40"/>
          </p15:clr>
        </p15:guide>
        <p15:guide id="4" orient="horz" pos="2828" userDrawn="1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00D8D745-A917-4544-B52C-C167B938FC8F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18736158-736B-4C99-AE3E-5DE67DF6BB4E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5B403315-6CB3-4D1B-932F-9111D4E0AC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07/06/2022</a:t>
            </a:fld>
            <a:endParaRPr lang="en-GB" dirty="0"/>
          </a:p>
        </p:txBody>
      </p:sp>
      <p:sp>
        <p:nvSpPr>
          <p:cNvPr id="8" name="Text Placeholder 9">
            <a:extLst>
              <a:ext uri="{FF2B5EF4-FFF2-40B4-BE49-F238E27FC236}">
                <a16:creationId xmlns:a16="http://schemas.microsoft.com/office/drawing/2014/main" id="{27EA66CC-1E16-FA43-950B-42C28BA0C13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A1501E54-557F-9B4F-AA23-CC2DB54C46F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1166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pos="5567" userDrawn="1">
          <p15:clr>
            <a:srgbClr val="FBAE40"/>
          </p15:clr>
        </p15:guide>
        <p15:guide id="3" orient="horz" pos="599" userDrawn="1">
          <p15:clr>
            <a:srgbClr val="FBAE40"/>
          </p15:clr>
        </p15:guide>
        <p15:guide id="4" orient="horz" pos="2828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3564000"/>
          </a:xfrm>
        </p:spPr>
        <p:txBody>
          <a:bodyPr/>
          <a:lstStyle>
            <a:lvl1pPr>
              <a:buClr>
                <a:schemeClr val="tx1"/>
              </a:buClr>
              <a:defRPr/>
            </a:lvl1pPr>
            <a:lvl2pPr>
              <a:buClr>
                <a:schemeClr val="tx1"/>
              </a:buClr>
              <a:defRPr/>
            </a:lvl2pPr>
            <a:lvl3pPr>
              <a:buClr>
                <a:schemeClr val="tx1"/>
              </a:buClr>
              <a:defRPr/>
            </a:lvl3pPr>
            <a:lvl4pPr>
              <a:buClr>
                <a:schemeClr val="tx1"/>
              </a:buClr>
              <a:defRPr/>
            </a:lvl4pPr>
            <a:lvl5pPr>
              <a:buClr>
                <a:schemeClr val="tx1"/>
              </a:buClr>
              <a:defRPr/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6">
            <a:extLst>
              <a:ext uri="{FF2B5EF4-FFF2-40B4-BE49-F238E27FC236}">
                <a16:creationId xmlns:a16="http://schemas.microsoft.com/office/drawing/2014/main" id="{81D067FA-704F-4565-BD79-FEDF669F1EF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E393F749-AC7C-4FC3-8474-84925B26C13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CDF99922-1635-4F71-88B4-1E28F3F26AB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07/06/2022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713FA47A-9E60-7C45-BAC1-5BB4D7BFA80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188814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567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orient="horz" pos="2845" userDrawn="1">
          <p15:clr>
            <a:srgbClr val="FBAE40"/>
          </p15:clr>
        </p15:guide>
        <p15:guide id="4" pos="193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C919A1E-AF03-4E65-AB90-7B16340F5AF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8" name="Rectangle 5">
            <a:extLst>
              <a:ext uri="{FF2B5EF4-FFF2-40B4-BE49-F238E27FC236}">
                <a16:creationId xmlns:a16="http://schemas.microsoft.com/office/drawing/2014/main" id="{1D93099D-53F9-451B-BF59-BB728B4000D5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2" name="Date Placeholder 3">
            <a:extLst>
              <a:ext uri="{FF2B5EF4-FFF2-40B4-BE49-F238E27FC236}">
                <a16:creationId xmlns:a16="http://schemas.microsoft.com/office/drawing/2014/main" id="{ECD7FB87-9E67-43F8-AAED-2A70B27779B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07/06/2022</a:t>
            </a:fld>
            <a:endParaRPr lang="en-GB" dirty="0"/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E20018B4-4626-1A4B-9344-746CC8AD38F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3125F03B-012D-5B4A-BC3C-5084689584A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73623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&amp; 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05991" y="945000"/>
            <a:ext cx="8514009" cy="3564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79A5DEB5-22C5-476C-A468-B2DD9C35F64A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21EBDCD7-77A5-4BC7-96F7-DED46AF71EDD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83504EB2-1848-44C8-9FAD-B72B04C0D88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07/06/2022</a:t>
            </a:fld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954DC2FC-5160-BB48-8152-2941FC57776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F615AB5E-0C86-BB44-A5E2-E04F5E251F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2914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pos="193" userDrawn="1">
          <p15:clr>
            <a:srgbClr val="FBAE40"/>
          </p15:clr>
        </p15:guide>
        <p15:guide id="3" orient="horz" pos="2845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324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991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70000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EB63F7A3-D2B3-45F4-BD1B-57C8EA14999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0" name="Rectangle 5">
            <a:extLst>
              <a:ext uri="{FF2B5EF4-FFF2-40B4-BE49-F238E27FC236}">
                <a16:creationId xmlns:a16="http://schemas.microsoft.com/office/drawing/2014/main" id="{8AC47872-D543-4BEF-BA7A-CB53103BE82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DEE9AE11-EE74-483E-A73A-9C916D29CA6C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07/06/2022</a:t>
            </a:fld>
            <a:endParaRPr lang="en-GB" dirty="0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31DA9F3-AC85-6A4E-BE52-E8DB7639589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58049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pos="5567" userDrawn="1">
          <p15:clr>
            <a:srgbClr val="FBAE40"/>
          </p15:clr>
        </p15:guide>
        <p15:guide id="4" orient="horz" pos="2539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Two-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3AAC17B3-09B8-46B1-86DA-C442998FCF42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AE7CD3C6-BAEE-46A0-B9A3-D5C64251D7A7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5243F8BA-4DDF-4B73-ADD4-92881531B269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07/06/2022</a:t>
            </a:fld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AC1E16F-74C5-F849-A8D3-197AB67107C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5991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81748EB0-AF6A-954E-80B0-F1F74302013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70000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FA8CD73C-7723-E14B-85A6-38A5D52880B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971BFF13-D877-F74E-A5B0-A85CEE173C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8007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pos="193" userDrawn="1">
          <p15:clr>
            <a:srgbClr val="FBAE40"/>
          </p15:clr>
        </p15:guide>
        <p15:guide id="3" orient="horz" pos="2539" userDrawn="1">
          <p15:clr>
            <a:srgbClr val="FBAE40"/>
          </p15:clr>
        </p15:guide>
        <p15:guide id="4" pos="5567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-column 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32400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9" name="Rectangle 6">
            <a:extLst>
              <a:ext uri="{FF2B5EF4-FFF2-40B4-BE49-F238E27FC236}">
                <a16:creationId xmlns:a16="http://schemas.microsoft.com/office/drawing/2014/main" id="{E8F719EB-2A7D-4C10-A9AD-0BBE86E0A486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3" name="Rectangle 5">
            <a:extLst>
              <a:ext uri="{FF2B5EF4-FFF2-40B4-BE49-F238E27FC236}">
                <a16:creationId xmlns:a16="http://schemas.microsoft.com/office/drawing/2014/main" id="{CA2E85CE-3AE3-4AA3-A5BD-94D69F59F7A2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F37F3403-5329-4785-8644-DEA2BBBC78A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07/06/2022</a:t>
            </a:fld>
            <a:endParaRPr lang="en-GB" dirty="0"/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8896D6C5-1818-EE46-BC2E-2EB5D519522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5991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739C7963-93F6-3C4E-8554-C1DB9E01CD9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70000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8D853B77-D0ED-5E42-8937-A010E9A288F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33406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99" userDrawn="1">
          <p15:clr>
            <a:srgbClr val="FBAE40"/>
          </p15:clr>
        </p15:guide>
        <p15:guide id="2" pos="193" userDrawn="1">
          <p15:clr>
            <a:srgbClr val="FBAE40"/>
          </p15:clr>
        </p15:guide>
        <p15:guide id="3" pos="5567" userDrawn="1">
          <p15:clr>
            <a:srgbClr val="FBAE40"/>
          </p15:clr>
        </p15:guide>
        <p15:guide id="4" orient="horz" pos="2811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-line Title Two-column Lon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513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5" name="Rectangle 6">
            <a:extLst>
              <a:ext uri="{FF2B5EF4-FFF2-40B4-BE49-F238E27FC236}">
                <a16:creationId xmlns:a16="http://schemas.microsoft.com/office/drawing/2014/main" id="{AAAA88FF-220D-4AB3-8B0B-A6CD876FFE5C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FF182B43-455B-4FEE-A520-1F6EAE41101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4D5B65EE-5102-41C9-B44A-138C20473668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07/06/2022</a:t>
            </a:fld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E2CAD367-C7CD-7F4E-8AE4-1B9579E3A2B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305991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477D866E-2E81-AB4C-9A05-F09D4751D4E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770000" y="945000"/>
            <a:ext cx="4050000" cy="3078000"/>
          </a:xfrm>
        </p:spPr>
        <p:txBody>
          <a:bodyPr/>
          <a:lstStyle>
            <a:lvl1pPr>
              <a:defRPr sz="1200"/>
            </a:lvl1pPr>
            <a:lvl2pPr>
              <a:defRPr sz="100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Text Placeholder 9">
            <a:extLst>
              <a:ext uri="{FF2B5EF4-FFF2-40B4-BE49-F238E27FC236}">
                <a16:creationId xmlns:a16="http://schemas.microsoft.com/office/drawing/2014/main" id="{09EF25C3-C469-4A4F-8D0F-1D7FB7AEA83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4521330D-F5C7-554D-8E32-F75B8231D9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3698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pos="5567" userDrawn="1">
          <p15:clr>
            <a:srgbClr val="FBAE40"/>
          </p15:clr>
        </p15:guide>
        <p15:guide id="4" orient="horz" pos="2811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5991" y="270000"/>
            <a:ext cx="8514009" cy="3240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051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bg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1A6E24D0-F3C2-452A-832E-2C6DED5EB07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5101" y="1539000"/>
            <a:ext cx="4049687" cy="2916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863C149B-0AE5-4517-8928-C3556769A76D}"/>
              </a:ext>
            </a:extLst>
          </p:cNvPr>
          <p:cNvSpPr>
            <a:spLocks noGrp="1"/>
          </p:cNvSpPr>
          <p:nvPr>
            <p:ph sz="half" idx="14"/>
          </p:nvPr>
        </p:nvSpPr>
        <p:spPr>
          <a:xfrm>
            <a:off x="4770000" y="945000"/>
            <a:ext cx="4050000" cy="486000"/>
          </a:xfrm>
        </p:spPr>
        <p:txBody>
          <a:bodyPr/>
          <a:lstStyle>
            <a:lvl1pPr marL="563" indent="0">
              <a:buNone/>
              <a:defRPr sz="1400" b="1">
                <a:solidFill>
                  <a:schemeClr val="bg2"/>
                </a:solidFill>
              </a:defRPr>
            </a:lvl1pPr>
            <a:lvl2pPr marL="201403" indent="0">
              <a:buNone/>
              <a:defRPr sz="1050"/>
            </a:lvl2pPr>
            <a:lvl3pPr>
              <a:defRPr sz="825"/>
            </a:lvl3pPr>
            <a:lvl4pPr>
              <a:defRPr sz="825"/>
            </a:lvl4pPr>
            <a:lvl5pPr>
              <a:defRPr sz="825"/>
            </a:lvl5pPr>
            <a:lvl6pPr>
              <a:defRPr sz="1350"/>
            </a:lvl6pPr>
            <a:lvl7pPr>
              <a:defRPr sz="1350"/>
            </a:lvl7pPr>
            <a:lvl8pPr>
              <a:defRPr sz="1350"/>
            </a:lvl8pPr>
            <a:lvl9pPr>
              <a:defRPr sz="135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Picture Placeholder 9">
            <a:extLst>
              <a:ext uri="{FF2B5EF4-FFF2-40B4-BE49-F238E27FC236}">
                <a16:creationId xmlns:a16="http://schemas.microsoft.com/office/drawing/2014/main" id="{686F52B1-FDE3-4E14-9986-D219BFDBF5F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770314" y="1539000"/>
            <a:ext cx="4049687" cy="2916000"/>
          </a:xfrm>
        </p:spPr>
        <p:txBody>
          <a:bodyPr/>
          <a:lstStyle>
            <a:lvl1pPr marL="563" indent="0">
              <a:buNone/>
              <a:defRPr/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3" name="Rectangle 6">
            <a:extLst>
              <a:ext uri="{FF2B5EF4-FFF2-40B4-BE49-F238E27FC236}">
                <a16:creationId xmlns:a16="http://schemas.microsoft.com/office/drawing/2014/main" id="{59B239F7-4580-4877-A474-73AB5A8C1A01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305991" y="4751461"/>
            <a:ext cx="1008000" cy="67500"/>
          </a:xfrm>
          <a:ln/>
        </p:spPr>
        <p:txBody>
          <a:bodyPr/>
          <a:lstStyle>
            <a:lvl1pPr>
              <a:defRPr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/>
              <a:t>Page </a:t>
            </a:r>
            <a:fld id="{43667527-7C42-4D8C-9BD4-204D132C7D2E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sp>
        <p:nvSpPr>
          <p:cNvPr id="17" name="Rectangle 5">
            <a:extLst>
              <a:ext uri="{FF2B5EF4-FFF2-40B4-BE49-F238E27FC236}">
                <a16:creationId xmlns:a16="http://schemas.microsoft.com/office/drawing/2014/main" id="{D2198827-0937-46D7-814E-35835DBBB399}"/>
              </a:ext>
            </a:extLst>
          </p:cNvPr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305991" y="4887000"/>
            <a:ext cx="1008000" cy="675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  <a:latin typeface="Arial" charset="0"/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GB"/>
              <a:t>Confidential</a:t>
            </a:r>
            <a:endParaRPr lang="en-GB" dirty="0"/>
          </a:p>
        </p:txBody>
      </p:sp>
      <p:sp>
        <p:nvSpPr>
          <p:cNvPr id="18" name="Date Placeholder 3">
            <a:extLst>
              <a:ext uri="{FF2B5EF4-FFF2-40B4-BE49-F238E27FC236}">
                <a16:creationId xmlns:a16="http://schemas.microsoft.com/office/drawing/2014/main" id="{F4DA6BB4-B5F8-4CFD-A8CC-C91F91FD62D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305991" y="4819500"/>
            <a:ext cx="1008000" cy="675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fld id="{94896001-3AA0-4930-A036-8A333FEECD7C}" type="datetime1">
              <a:rPr lang="en-GB" smtClean="0"/>
              <a:pPr/>
              <a:t>07/06/2022</a:t>
            </a:fld>
            <a:endParaRPr lang="en-GB" dirty="0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45982340-1903-2B4A-9E4E-2021DF377CB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07591" y="4751461"/>
            <a:ext cx="2973263" cy="243000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45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  <a:lvl2pPr marL="186928" indent="0">
              <a:buNone/>
              <a:defRPr sz="450">
                <a:solidFill>
                  <a:schemeClr val="tx1"/>
                </a:solidFill>
              </a:defRPr>
            </a:lvl2pPr>
            <a:lvl3pPr marL="408384" indent="0">
              <a:buNone/>
              <a:defRPr sz="450">
                <a:solidFill>
                  <a:schemeClr val="tx1"/>
                </a:solidFill>
              </a:defRPr>
            </a:lvl3pPr>
            <a:lvl4pPr marL="608410" indent="0">
              <a:buNone/>
              <a:defRPr sz="450">
                <a:solidFill>
                  <a:schemeClr val="tx1"/>
                </a:solidFill>
              </a:defRPr>
            </a:lvl4pPr>
            <a:lvl5pPr marL="812006" indent="0">
              <a:buNone/>
              <a:defRPr sz="45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6738147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93" userDrawn="1">
          <p15:clr>
            <a:srgbClr val="FBAE40"/>
          </p15:clr>
        </p15:guide>
        <p15:guide id="2" orient="horz" pos="599" userDrawn="1">
          <p15:clr>
            <a:srgbClr val="FBAE40"/>
          </p15:clr>
        </p15:guide>
        <p15:guide id="3" pos="5567" userDrawn="1">
          <p15:clr>
            <a:srgbClr val="FBAE40"/>
          </p15:clr>
        </p15:guide>
        <p15:guide id="4" orient="horz" pos="2811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3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image" Target="../media/image2.pn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32"/>
            </p:custDataLst>
          </p:nvPr>
        </p:nvGraphicFramePr>
        <p:xfrm>
          <a:off x="1619" y="1195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3" imgW="360" imgH="360" progId="">
                  <p:embed/>
                </p:oleObj>
              </mc:Choice>
              <mc:Fallback>
                <p:oleObj name="think-cell Slide" r:id="rId33" imgW="360" imgH="360" progId="">
                  <p:embed/>
                  <p:pic>
                    <p:nvPicPr>
                      <p:cNvPr id="2" name="Objec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19" y="1195"/>
                        <a:ext cx="1587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305991" y="270000"/>
            <a:ext cx="8514009" cy="3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05991" y="945000"/>
            <a:ext cx="8514009" cy="3510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305991" y="4751461"/>
            <a:ext cx="1296000" cy="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 eaLnBrk="0" hangingPunct="0">
              <a:spcBef>
                <a:spcPct val="0"/>
              </a:spcBef>
              <a:defRPr lang="en-GB" sz="450" smtClean="0">
                <a:solidFill>
                  <a:schemeClr val="tx1">
                    <a:lumMod val="60000"/>
                    <a:lumOff val="40000"/>
                  </a:schemeClr>
                </a:solidFill>
              </a:defRPr>
            </a:lvl1pPr>
          </a:lstStyle>
          <a:p>
            <a:pPr>
              <a:defRPr/>
            </a:pPr>
            <a:r>
              <a:rPr lang="en-GB" dirty="0"/>
              <a:t>Page </a:t>
            </a:r>
            <a:fld id="{72A704F9-61CA-4770-B270-3EB3A3A14010}" type="slidenum">
              <a:rPr smtClean="0"/>
              <a:pPr>
                <a:defRPr/>
              </a:pPr>
              <a:t>‹#›</a:t>
            </a:fld>
            <a:endParaRPr dirty="0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E5E89B35-29B3-DC47-93BE-21746182294B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7993650" y="4573904"/>
            <a:ext cx="893024" cy="465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9201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741" r:id="rId2"/>
    <p:sldLayoutId id="2147483742" r:id="rId3"/>
    <p:sldLayoutId id="2147483743" r:id="rId4"/>
    <p:sldLayoutId id="2147483676" r:id="rId5"/>
    <p:sldLayoutId id="2147483744" r:id="rId6"/>
    <p:sldLayoutId id="2147483733" r:id="rId7"/>
    <p:sldLayoutId id="2147483745" r:id="rId8"/>
    <p:sldLayoutId id="2147483738" r:id="rId9"/>
    <p:sldLayoutId id="2147483750" r:id="rId10"/>
    <p:sldLayoutId id="2147483756" r:id="rId11"/>
    <p:sldLayoutId id="2147483757" r:id="rId12"/>
    <p:sldLayoutId id="2147483740" r:id="rId13"/>
    <p:sldLayoutId id="2147483751" r:id="rId14"/>
    <p:sldLayoutId id="2147483734" r:id="rId15"/>
    <p:sldLayoutId id="2147483735" r:id="rId16"/>
    <p:sldLayoutId id="2147483752" r:id="rId17"/>
    <p:sldLayoutId id="2147483753" r:id="rId18"/>
    <p:sldLayoutId id="2147483739" r:id="rId19"/>
    <p:sldLayoutId id="2147483747" r:id="rId20"/>
    <p:sldLayoutId id="2147483746" r:id="rId21"/>
    <p:sldLayoutId id="2147483748" r:id="rId22"/>
    <p:sldLayoutId id="2147483736" r:id="rId23"/>
    <p:sldLayoutId id="2147483737" r:id="rId24"/>
    <p:sldLayoutId id="2147483754" r:id="rId25"/>
    <p:sldLayoutId id="2147483755" r:id="rId26"/>
    <p:sldLayoutId id="2147483758" r:id="rId27"/>
    <p:sldLayoutId id="2147483678" r:id="rId28"/>
    <p:sldLayoutId id="2147483749" r:id="rId29"/>
    <p:sldLayoutId id="2147483679" r:id="rId30"/>
  </p:sldLayoutIdLst>
  <p:hf hdr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1600" b="1" i="0" baseline="0">
          <a:solidFill>
            <a:schemeClr val="tx1"/>
          </a:solidFill>
          <a:latin typeface="+mj-lt"/>
          <a:ea typeface="MS PGothic" pitchFamily="34" charset="-128"/>
          <a:cs typeface="MS PGothic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  <a:cs typeface="MS PGothic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2250">
          <a:solidFill>
            <a:schemeClr val="tx2"/>
          </a:solidFill>
          <a:latin typeface="Arial" pitchFamily="34" charset="0"/>
          <a:ea typeface="MS PGothic" pitchFamily="34" charset="-128"/>
        </a:defRPr>
      </a:lvl9pPr>
    </p:titleStyle>
    <p:bodyStyle>
      <a:lvl1pPr marL="186300" indent="-185738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200">
          <a:solidFill>
            <a:schemeClr val="tx1"/>
          </a:solidFill>
          <a:latin typeface="+mn-lt"/>
          <a:ea typeface="MS PGothic" pitchFamily="34" charset="-128"/>
          <a:cs typeface="MS PGothic"/>
        </a:defRPr>
      </a:lvl1pPr>
      <a:lvl2pPr marL="405000" indent="-203597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1000">
          <a:solidFill>
            <a:schemeClr val="tx1"/>
          </a:solidFill>
          <a:latin typeface="+mn-lt"/>
          <a:ea typeface="MS PGothic" pitchFamily="34" charset="-128"/>
          <a:cs typeface="MS PGothic"/>
        </a:defRPr>
      </a:lvl2pPr>
      <a:lvl3pPr marL="607219" indent="-198835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800">
          <a:solidFill>
            <a:schemeClr val="tx1"/>
          </a:solidFill>
          <a:latin typeface="+mn-lt"/>
          <a:ea typeface="MS PGothic" pitchFamily="34" charset="-128"/>
          <a:cs typeface="MS PGothic"/>
        </a:defRPr>
      </a:lvl3pPr>
      <a:lvl4pPr marL="810816" indent="-202406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–"/>
        <a:defRPr sz="800">
          <a:solidFill>
            <a:schemeClr val="tx1"/>
          </a:solidFill>
          <a:latin typeface="+mn-lt"/>
          <a:ea typeface="MS PGothic" pitchFamily="34" charset="-128"/>
          <a:cs typeface="MS PGothic"/>
        </a:defRPr>
      </a:lvl4pPr>
      <a:lvl5pPr marL="1014413" indent="-202406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»"/>
        <a:defRPr sz="800">
          <a:solidFill>
            <a:schemeClr val="tx1"/>
          </a:solidFill>
          <a:latin typeface="+mn-lt"/>
          <a:ea typeface="MS PGothic" pitchFamily="34" charset="-128"/>
          <a:cs typeface="MS PGothic"/>
        </a:defRPr>
      </a:lvl5pPr>
      <a:lvl6pPr marL="1357313" indent="-202406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050">
          <a:solidFill>
            <a:srgbClr val="333333"/>
          </a:solidFill>
          <a:latin typeface="+mn-lt"/>
          <a:ea typeface="+mn-ea"/>
        </a:defRPr>
      </a:lvl6pPr>
      <a:lvl7pPr marL="1700213" indent="-202406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050">
          <a:solidFill>
            <a:srgbClr val="333333"/>
          </a:solidFill>
          <a:latin typeface="+mn-lt"/>
          <a:ea typeface="+mn-ea"/>
        </a:defRPr>
      </a:lvl7pPr>
      <a:lvl8pPr marL="2043113" indent="-202406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050">
          <a:solidFill>
            <a:srgbClr val="333333"/>
          </a:solidFill>
          <a:latin typeface="+mn-lt"/>
          <a:ea typeface="+mn-ea"/>
        </a:defRPr>
      </a:lvl8pPr>
      <a:lvl9pPr marL="2386013" indent="-202406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Char char="»"/>
        <a:defRPr sz="1050">
          <a:solidFill>
            <a:srgbClr val="333333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jpg"/><Relationship Id="rId13" Type="http://schemas.openxmlformats.org/officeDocument/2006/relationships/image" Target="../media/image15.png"/><Relationship Id="rId18" Type="http://schemas.openxmlformats.org/officeDocument/2006/relationships/image" Target="../media/image20.png"/><Relationship Id="rId3" Type="http://schemas.openxmlformats.org/officeDocument/2006/relationships/image" Target="../media/image5.jpg"/><Relationship Id="rId21" Type="http://schemas.openxmlformats.org/officeDocument/2006/relationships/image" Target="../media/image23.png"/><Relationship Id="rId7" Type="http://schemas.openxmlformats.org/officeDocument/2006/relationships/image" Target="../media/image9.jpg"/><Relationship Id="rId12" Type="http://schemas.openxmlformats.org/officeDocument/2006/relationships/image" Target="../media/image14.jpg"/><Relationship Id="rId17" Type="http://schemas.openxmlformats.org/officeDocument/2006/relationships/image" Target="../media/image19.png"/><Relationship Id="rId2" Type="http://schemas.openxmlformats.org/officeDocument/2006/relationships/image" Target="../media/image4.jpg"/><Relationship Id="rId16" Type="http://schemas.openxmlformats.org/officeDocument/2006/relationships/image" Target="../media/image18.png"/><Relationship Id="rId20" Type="http://schemas.openxmlformats.org/officeDocument/2006/relationships/image" Target="../media/image22.png"/><Relationship Id="rId1" Type="http://schemas.openxmlformats.org/officeDocument/2006/relationships/slideLayout" Target="../slideLayouts/slideLayout24.xml"/><Relationship Id="rId6" Type="http://schemas.openxmlformats.org/officeDocument/2006/relationships/image" Target="../media/image8.jpg"/><Relationship Id="rId11" Type="http://schemas.openxmlformats.org/officeDocument/2006/relationships/image" Target="../media/image13.jpg"/><Relationship Id="rId5" Type="http://schemas.openxmlformats.org/officeDocument/2006/relationships/image" Target="../media/image7.jpg"/><Relationship Id="rId15" Type="http://schemas.openxmlformats.org/officeDocument/2006/relationships/image" Target="../media/image17.png"/><Relationship Id="rId10" Type="http://schemas.openxmlformats.org/officeDocument/2006/relationships/image" Target="../media/image12.jpg"/><Relationship Id="rId19" Type="http://schemas.openxmlformats.org/officeDocument/2006/relationships/image" Target="../media/image21.png"/><Relationship Id="rId4" Type="http://schemas.openxmlformats.org/officeDocument/2006/relationships/image" Target="../media/image6.jpeg"/><Relationship Id="rId9" Type="http://schemas.openxmlformats.org/officeDocument/2006/relationships/image" Target="../media/image11.jpg"/><Relationship Id="rId14" Type="http://schemas.openxmlformats.org/officeDocument/2006/relationships/image" Target="../media/image16.png"/><Relationship Id="rId22" Type="http://schemas.openxmlformats.org/officeDocument/2006/relationships/image" Target="../media/image24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2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jpeg"/><Relationship Id="rId2" Type="http://schemas.openxmlformats.org/officeDocument/2006/relationships/image" Target="../media/image43.jpg"/><Relationship Id="rId1" Type="http://schemas.openxmlformats.org/officeDocument/2006/relationships/slideLayout" Target="../slideLayouts/slideLayout2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g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g"/><Relationship Id="rId1" Type="http://schemas.openxmlformats.org/officeDocument/2006/relationships/slideLayout" Target="../slideLayouts/slideLayout2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2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jpg"/><Relationship Id="rId1" Type="http://schemas.openxmlformats.org/officeDocument/2006/relationships/slideLayout" Target="../slideLayouts/slideLayout2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image" Target="../media/image37.jpg"/><Relationship Id="rId1" Type="http://schemas.openxmlformats.org/officeDocument/2006/relationships/slideLayout" Target="../slideLayouts/slideLayout2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image" Target="../media/image39.jpg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2ECD710-5CC9-294A-BDAB-366C6C07FFB9}"/>
              </a:ext>
            </a:extLst>
          </p:cNvPr>
          <p:cNvSpPr txBox="1">
            <a:spLocks/>
          </p:cNvSpPr>
          <p:nvPr/>
        </p:nvSpPr>
        <p:spPr bwMode="auto">
          <a:xfrm>
            <a:off x="306386" y="1392070"/>
            <a:ext cx="4297279" cy="9681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6300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1pPr>
            <a:lvl2pPr marL="405000" indent="-20359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2pPr>
            <a:lvl3pPr marL="607219" indent="-19883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3pPr>
            <a:lvl4pPr marL="810816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4pPr>
            <a:lvl5pPr marL="10144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5pPr>
            <a:lvl6pPr marL="13573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6pPr>
            <a:lvl7pPr marL="17002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7pPr>
            <a:lvl8pPr marL="20431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8pPr>
            <a:lvl9pPr marL="23860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273050" indent="-266700" defTabSz="914400">
              <a:spcAft>
                <a:spcPts val="200"/>
              </a:spcAft>
              <a:buFont typeface="+mj-lt"/>
              <a:buAutoNum type="arabicPeriod"/>
            </a:pPr>
            <a:r>
              <a:rPr lang="en-GB" sz="1050" kern="0" dirty="0"/>
              <a:t>I work in a “fit and able” condition</a:t>
            </a:r>
          </a:p>
          <a:p>
            <a:pPr marL="273050" indent="-266700" defTabSz="914400">
              <a:spcAft>
                <a:spcPts val="200"/>
              </a:spcAft>
              <a:buFont typeface="+mj-lt"/>
              <a:buAutoNum type="arabicPeriod"/>
            </a:pPr>
            <a:r>
              <a:rPr lang="en-GB" sz="1050" kern="0" dirty="0"/>
              <a:t>I use fall prevention or protection when the risk of falling </a:t>
            </a:r>
            <a:br>
              <a:rPr lang="en-GB" sz="1050" kern="0" dirty="0"/>
            </a:br>
            <a:r>
              <a:rPr lang="en-GB" sz="1050" kern="0" dirty="0"/>
              <a:t>is beyond 1.8 m</a:t>
            </a:r>
          </a:p>
          <a:p>
            <a:pPr marL="273050" indent="-266700" defTabSz="914400">
              <a:spcAft>
                <a:spcPts val="200"/>
              </a:spcAft>
              <a:buFont typeface="+mj-lt"/>
              <a:buAutoNum type="arabicPeriod"/>
            </a:pPr>
            <a:r>
              <a:rPr lang="en-GB" sz="1050" kern="0" dirty="0"/>
              <a:t>I follow the isolation procedure</a:t>
            </a:r>
          </a:p>
          <a:p>
            <a:pPr marL="273050" indent="-266700" defTabSz="914400">
              <a:spcAft>
                <a:spcPts val="200"/>
              </a:spcAft>
              <a:buFont typeface="+mj-lt"/>
              <a:buAutoNum type="arabicPeriod"/>
            </a:pPr>
            <a:r>
              <a:rPr lang="en-GB" sz="1050" kern="0" dirty="0"/>
              <a:t>I follow the confined space procedure</a:t>
            </a:r>
          </a:p>
          <a:p>
            <a:pPr marL="273050" indent="-266700" defTabSz="914400">
              <a:spcAft>
                <a:spcPts val="200"/>
              </a:spcAft>
              <a:buFont typeface="+mj-lt"/>
              <a:buAutoNum type="arabicPeriod"/>
            </a:pPr>
            <a:r>
              <a:rPr lang="en-GB" sz="1050" kern="0" dirty="0"/>
              <a:t>I respect all the rules of load handling and never stand under </a:t>
            </a:r>
            <a:br>
              <a:rPr lang="en-GB" sz="1050" kern="0" dirty="0"/>
            </a:br>
            <a:r>
              <a:rPr lang="en-GB" sz="1050" kern="0" dirty="0"/>
              <a:t>a suspended load </a:t>
            </a:r>
          </a:p>
          <a:p>
            <a:pPr marL="273050" indent="-266700" defTabSz="914400">
              <a:spcAft>
                <a:spcPts val="200"/>
              </a:spcAft>
              <a:buFont typeface="+mj-lt"/>
              <a:buAutoNum type="arabicPeriod"/>
            </a:pPr>
            <a:r>
              <a:rPr lang="en-GB" sz="1050" kern="0" dirty="0"/>
              <a:t>I respect all the traffic and driving rules</a:t>
            </a:r>
          </a:p>
          <a:p>
            <a:pPr marL="273050" indent="-266700" defTabSz="914400">
              <a:spcAft>
                <a:spcPts val="200"/>
              </a:spcAft>
              <a:buFont typeface="+mj-lt"/>
              <a:buAutoNum type="arabicPeriod"/>
            </a:pPr>
            <a:r>
              <a:rPr lang="en-GB" sz="1050" kern="0" dirty="0"/>
              <a:t>I respect rail priority and stay out of close clearance areas</a:t>
            </a:r>
          </a:p>
          <a:p>
            <a:pPr marL="273050" indent="-266700" defTabSz="914400">
              <a:spcAft>
                <a:spcPts val="200"/>
              </a:spcAft>
              <a:buFont typeface="+mj-lt"/>
              <a:buAutoNum type="arabicPeriod"/>
            </a:pPr>
            <a:r>
              <a:rPr lang="en-GB" sz="1050" kern="0" dirty="0"/>
              <a:t>I respect the rules for entering and working in hazardous gas areas </a:t>
            </a:r>
          </a:p>
          <a:p>
            <a:pPr marL="273050" indent="-266700" defTabSz="914400">
              <a:spcAft>
                <a:spcPts val="200"/>
              </a:spcAft>
              <a:buFont typeface="+mj-lt"/>
              <a:buAutoNum type="arabicPeriod"/>
            </a:pPr>
            <a:r>
              <a:rPr lang="en-GB" sz="1050" kern="0" dirty="0"/>
              <a:t>I never disable safety devices </a:t>
            </a:r>
          </a:p>
          <a:p>
            <a:pPr marL="273050" indent="-266700" defTabSz="914400">
              <a:spcAft>
                <a:spcPts val="200"/>
              </a:spcAft>
              <a:buFont typeface="+mj-lt"/>
              <a:buAutoNum type="arabicPeriod"/>
            </a:pPr>
            <a:r>
              <a:rPr lang="en-GB" sz="1050" kern="0" dirty="0"/>
              <a:t>I respect all the H&amp;S basic rules, standards and signals</a:t>
            </a:r>
            <a:br>
              <a:rPr lang="en-GB" sz="1050" kern="0" dirty="0"/>
            </a:br>
            <a:r>
              <a:rPr lang="en-GB" sz="1050" kern="0" dirty="0"/>
              <a:t>and I wear the required PPE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00836CE1-4105-9BEF-C72E-C73810991F65}"/>
              </a:ext>
            </a:extLst>
          </p:cNvPr>
          <p:cNvGrpSpPr/>
          <p:nvPr/>
        </p:nvGrpSpPr>
        <p:grpSpPr>
          <a:xfrm>
            <a:off x="4740933" y="561798"/>
            <a:ext cx="4031081" cy="4141823"/>
            <a:chOff x="3450921" y="237112"/>
            <a:chExt cx="4514992" cy="4692924"/>
          </a:xfrm>
        </p:grpSpPr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76F8DE9A-4AB1-7845-8A28-AE57B65E6F4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462200" y="2778750"/>
              <a:ext cx="800760" cy="800760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8B502A29-D72C-E445-8C99-0EFCE0B3F79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3450921" y="1592476"/>
              <a:ext cx="792000" cy="792000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E6FFCF7D-249A-1C45-BB4C-524772FAAC1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419406" y="1286809"/>
              <a:ext cx="2592000" cy="2592000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20F27CC2-3F90-9448-9F12-E1E67733AF7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305755" y="237112"/>
              <a:ext cx="800760" cy="800760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1AA2F0AE-E8AD-034E-88DC-7F0480FF609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165153" y="2794625"/>
              <a:ext cx="800760" cy="800760"/>
            </a:xfrm>
            <a:prstGeom prst="rect">
              <a:avLst/>
            </a:prstGeom>
          </p:spPr>
        </p:pic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F4DCAB2B-62EA-AD41-9739-6813DB6B410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85932" y="594103"/>
              <a:ext cx="800760" cy="800760"/>
            </a:xfrm>
            <a:prstGeom prst="rect">
              <a:avLst/>
            </a:prstGeom>
          </p:spPr>
        </p:pic>
        <p:pic>
          <p:nvPicPr>
            <p:cNvPr id="41" name="Picture 40">
              <a:extLst>
                <a:ext uri="{FF2B5EF4-FFF2-40B4-BE49-F238E27FC236}">
                  <a16:creationId xmlns:a16="http://schemas.microsoft.com/office/drawing/2014/main" id="{47775B90-D95D-9A43-828C-09D15388F99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161978" y="1576280"/>
              <a:ext cx="800760" cy="800760"/>
            </a:xfrm>
            <a:prstGeom prst="rect">
              <a:avLst/>
            </a:prstGeom>
          </p:spPr>
        </p:pic>
        <p:pic>
          <p:nvPicPr>
            <p:cNvPr id="42" name="Picture 41">
              <a:extLst>
                <a:ext uri="{FF2B5EF4-FFF2-40B4-BE49-F238E27FC236}">
                  <a16:creationId xmlns:a16="http://schemas.microsoft.com/office/drawing/2014/main" id="{62D8B1D7-F2E2-F140-A6EA-F8380BA8CF4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447804" y="599402"/>
              <a:ext cx="800760" cy="800760"/>
            </a:xfrm>
            <a:prstGeom prst="rect">
              <a:avLst/>
            </a:prstGeom>
          </p:spPr>
        </p:pic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122E0B87-90DA-F844-A8FE-6C2BE34ACF5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6431906" y="3775366"/>
              <a:ext cx="806400" cy="806400"/>
            </a:xfrm>
            <a:prstGeom prst="rect">
              <a:avLst/>
            </a:prstGeom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422C3190-FA6B-5845-BB47-75C0306918ED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78139" y="3767693"/>
              <a:ext cx="806400" cy="806400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A6D7E9E4-1862-A14E-8EB2-0BCE294F5B57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5304408" y="4123636"/>
              <a:ext cx="806400" cy="806400"/>
            </a:xfrm>
            <a:prstGeom prst="rect">
              <a:avLst/>
            </a:prstGeom>
          </p:spPr>
        </p:pic>
        <p:pic>
          <p:nvPicPr>
            <p:cNvPr id="3" name="Picture 2" descr="Logo&#10;&#10;Description automatically generated">
              <a:extLst>
                <a:ext uri="{FF2B5EF4-FFF2-40B4-BE49-F238E27FC236}">
                  <a16:creationId xmlns:a16="http://schemas.microsoft.com/office/drawing/2014/main" id="{F8913345-9B90-0866-F07F-321D9DE60FFB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85932" y="594103"/>
              <a:ext cx="117790" cy="117790"/>
            </a:xfrm>
            <a:prstGeom prst="rect">
              <a:avLst/>
            </a:prstGeom>
          </p:spPr>
        </p:pic>
        <p:pic>
          <p:nvPicPr>
            <p:cNvPr id="6" name="Picture 5" descr="Icon&#10;&#10;Description automatically generated">
              <a:extLst>
                <a:ext uri="{FF2B5EF4-FFF2-40B4-BE49-F238E27FC236}">
                  <a16:creationId xmlns:a16="http://schemas.microsoft.com/office/drawing/2014/main" id="{AB4619C7-F6EF-B2CB-B56A-7288DC0B6B1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05755" y="237112"/>
              <a:ext cx="117790" cy="117790"/>
            </a:xfrm>
            <a:prstGeom prst="rect">
              <a:avLst/>
            </a:prstGeom>
          </p:spPr>
        </p:pic>
        <p:pic>
          <p:nvPicPr>
            <p:cNvPr id="8" name="Picture 7" descr="Icon&#10;&#10;Description automatically generated">
              <a:extLst>
                <a:ext uri="{FF2B5EF4-FFF2-40B4-BE49-F238E27FC236}">
                  <a16:creationId xmlns:a16="http://schemas.microsoft.com/office/drawing/2014/main" id="{BD9B914E-B362-D873-0A35-BE4408CBB9B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47804" y="599402"/>
              <a:ext cx="117790" cy="117790"/>
            </a:xfrm>
            <a:prstGeom prst="rect">
              <a:avLst/>
            </a:prstGeom>
          </p:spPr>
        </p:pic>
        <p:pic>
          <p:nvPicPr>
            <p:cNvPr id="11" name="Picture 10" descr="Icon&#10;&#10;Description automatically generated">
              <a:extLst>
                <a:ext uri="{FF2B5EF4-FFF2-40B4-BE49-F238E27FC236}">
                  <a16:creationId xmlns:a16="http://schemas.microsoft.com/office/drawing/2014/main" id="{85577BCD-2748-116F-224B-5DC0830B7EC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1978" y="1576280"/>
              <a:ext cx="117790" cy="117790"/>
            </a:xfrm>
            <a:prstGeom prst="rect">
              <a:avLst/>
            </a:prstGeom>
          </p:spPr>
        </p:pic>
        <p:pic>
          <p:nvPicPr>
            <p:cNvPr id="13" name="Picture 12" descr="Icon&#10;&#10;Description automatically generated">
              <a:extLst>
                <a:ext uri="{FF2B5EF4-FFF2-40B4-BE49-F238E27FC236}">
                  <a16:creationId xmlns:a16="http://schemas.microsoft.com/office/drawing/2014/main" id="{25E2CC31-E472-91DE-F1E7-E07568E5B40E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165153" y="2794625"/>
              <a:ext cx="117790" cy="117790"/>
            </a:xfrm>
            <a:prstGeom prst="rect">
              <a:avLst/>
            </a:prstGeom>
          </p:spPr>
        </p:pic>
        <p:pic>
          <p:nvPicPr>
            <p:cNvPr id="16" name="Picture 15" descr="Logo, icon&#10;&#10;Description automatically generated">
              <a:extLst>
                <a:ext uri="{FF2B5EF4-FFF2-40B4-BE49-F238E27FC236}">
                  <a16:creationId xmlns:a16="http://schemas.microsoft.com/office/drawing/2014/main" id="{F2A8ACB2-950E-0826-F407-DBA93DECAF43}"/>
                </a:ext>
              </a:extLst>
            </p:cNvPr>
            <p:cNvPicPr>
              <a:picLocks noChangeAspect="1"/>
            </p:cNvPicPr>
            <p:nvPr/>
          </p:nvPicPr>
          <p:blipFill>
            <a:blip r:embed="rId1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431906" y="3775366"/>
              <a:ext cx="117790" cy="117790"/>
            </a:xfrm>
            <a:prstGeom prst="rect">
              <a:avLst/>
            </a:prstGeom>
          </p:spPr>
        </p:pic>
        <p:pic>
          <p:nvPicPr>
            <p:cNvPr id="18" name="Picture 17" descr="Icon&#10;&#10;Description automatically generated">
              <a:extLst>
                <a:ext uri="{FF2B5EF4-FFF2-40B4-BE49-F238E27FC236}">
                  <a16:creationId xmlns:a16="http://schemas.microsoft.com/office/drawing/2014/main" id="{3B0CE56A-B737-90CD-C3E7-3B517D1E38B9}"/>
                </a:ext>
              </a:extLst>
            </p:cNvPr>
            <p:cNvPicPr>
              <a:picLocks noChangeAspect="1"/>
            </p:cNvPicPr>
            <p:nvPr/>
          </p:nvPicPr>
          <p:blipFill>
            <a:blip r:embed="rId1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04408" y="4123636"/>
              <a:ext cx="117790" cy="117790"/>
            </a:xfrm>
            <a:prstGeom prst="rect">
              <a:avLst/>
            </a:prstGeom>
          </p:spPr>
        </p:pic>
        <p:pic>
          <p:nvPicPr>
            <p:cNvPr id="22" name="Picture 21" descr="Icon&#10;&#10;Description automatically generated">
              <a:extLst>
                <a:ext uri="{FF2B5EF4-FFF2-40B4-BE49-F238E27FC236}">
                  <a16:creationId xmlns:a16="http://schemas.microsoft.com/office/drawing/2014/main" id="{E7100900-EE3F-1834-9CEC-E223CD6C9560}"/>
                </a:ext>
              </a:extLst>
            </p:cNvPr>
            <p:cNvPicPr>
              <a:picLocks noChangeAspect="1"/>
            </p:cNvPicPr>
            <p:nvPr/>
          </p:nvPicPr>
          <p:blipFill>
            <a:blip r:embed="rId20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178139" y="3767693"/>
              <a:ext cx="117790" cy="117790"/>
            </a:xfrm>
            <a:prstGeom prst="rect">
              <a:avLst/>
            </a:prstGeom>
          </p:spPr>
        </p:pic>
        <p:pic>
          <p:nvPicPr>
            <p:cNvPr id="24" name="Picture 23" descr="Icon&#10;&#10;Description automatically generated">
              <a:extLst>
                <a:ext uri="{FF2B5EF4-FFF2-40B4-BE49-F238E27FC236}">
                  <a16:creationId xmlns:a16="http://schemas.microsoft.com/office/drawing/2014/main" id="{D4800174-E778-7A5A-72CA-CCC7F4E53BE3}"/>
                </a:ext>
              </a:extLst>
            </p:cNvPr>
            <p:cNvPicPr>
              <a:picLocks noChangeAspect="1"/>
            </p:cNvPicPr>
            <p:nvPr/>
          </p:nvPicPr>
          <p:blipFill>
            <a:blip r:embed="rId21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62200" y="2778750"/>
              <a:ext cx="117790" cy="117790"/>
            </a:xfrm>
            <a:prstGeom prst="rect">
              <a:avLst/>
            </a:prstGeom>
          </p:spPr>
        </p:pic>
        <p:pic>
          <p:nvPicPr>
            <p:cNvPr id="28" name="Picture 27" descr="Icon&#10;&#10;Description automatically generated">
              <a:extLst>
                <a:ext uri="{FF2B5EF4-FFF2-40B4-BE49-F238E27FC236}">
                  <a16:creationId xmlns:a16="http://schemas.microsoft.com/office/drawing/2014/main" id="{A34191AA-D6D3-58F8-32C0-FDAF4B32EBE3}"/>
                </a:ext>
              </a:extLst>
            </p:cNvPr>
            <p:cNvPicPr>
              <a:picLocks noChangeAspect="1"/>
            </p:cNvPicPr>
            <p:nvPr/>
          </p:nvPicPr>
          <p:blipFill>
            <a:blip r:embed="rId2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450921" y="1592476"/>
              <a:ext cx="117790" cy="117790"/>
            </a:xfrm>
            <a:prstGeom prst="rect">
              <a:avLst/>
            </a:prstGeom>
          </p:spPr>
        </p:pic>
      </p:grpSp>
      <p:sp>
        <p:nvSpPr>
          <p:cNvPr id="35" name="Content Placeholder 6">
            <a:extLst>
              <a:ext uri="{FF2B5EF4-FFF2-40B4-BE49-F238E27FC236}">
                <a16:creationId xmlns:a16="http://schemas.microsoft.com/office/drawing/2014/main" id="{238FCD9F-590A-6B0E-A805-83DCEBDC51A4}"/>
              </a:ext>
            </a:extLst>
          </p:cNvPr>
          <p:cNvSpPr txBox="1">
            <a:spLocks/>
          </p:cNvSpPr>
          <p:nvPr/>
        </p:nvSpPr>
        <p:spPr>
          <a:xfrm>
            <a:off x="306386" y="248116"/>
            <a:ext cx="5001593" cy="37723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200"/>
              </a:lnSpc>
              <a:spcBef>
                <a:spcPts val="400"/>
              </a:spcBef>
              <a:buNone/>
            </a:pPr>
            <a:r>
              <a:rPr lang="en-US" sz="190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 Saving Golden Rules</a:t>
            </a:r>
          </a:p>
        </p:txBody>
      </p:sp>
      <p:sp>
        <p:nvSpPr>
          <p:cNvPr id="36" name="Content Placeholder 6">
            <a:extLst>
              <a:ext uri="{FF2B5EF4-FFF2-40B4-BE49-F238E27FC236}">
                <a16:creationId xmlns:a16="http://schemas.microsoft.com/office/drawing/2014/main" id="{9927B7A5-CB2D-B34F-DA20-44A106409637}"/>
              </a:ext>
            </a:extLst>
          </p:cNvPr>
          <p:cNvSpPr txBox="1">
            <a:spLocks/>
          </p:cNvSpPr>
          <p:nvPr/>
        </p:nvSpPr>
        <p:spPr>
          <a:xfrm>
            <a:off x="306387" y="572567"/>
            <a:ext cx="3642950" cy="2095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200" b="1" kern="0" dirty="0">
                <a:solidFill>
                  <a:srgbClr val="414141"/>
                </a:solidFill>
                <a:latin typeface="Arial" panose="020B0604020202020204" pitchFamily="34" charset="0"/>
                <a:ea typeface="MS PGothic"/>
                <a:cs typeface="Arial" panose="020B0604020202020204" pitchFamily="34" charset="0"/>
              </a:rPr>
              <a:t>Respect them to stay alive</a:t>
            </a:r>
          </a:p>
        </p:txBody>
      </p:sp>
    </p:spTree>
    <p:extLst>
      <p:ext uri="{BB962C8B-B14F-4D97-AF65-F5344CB8AC3E}">
        <p14:creationId xmlns:p14="http://schemas.microsoft.com/office/powerpoint/2010/main" val="15182657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81E5AF54-9753-4F4C-5CAD-EB8D0537B8A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0889" y="864000"/>
            <a:ext cx="360000" cy="360000"/>
          </a:xfrm>
          <a:prstGeom prst="rect">
            <a:avLst/>
          </a:prstGeom>
        </p:spPr>
      </p:pic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65A37F1F-4539-1E5E-ED55-36B7399A80AC}"/>
              </a:ext>
            </a:extLst>
          </p:cNvPr>
          <p:cNvSpPr txBox="1">
            <a:spLocks/>
          </p:cNvSpPr>
          <p:nvPr/>
        </p:nvSpPr>
        <p:spPr>
          <a:xfrm>
            <a:off x="306387" y="1314572"/>
            <a:ext cx="3870325" cy="6842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400"/>
              </a:spcBef>
              <a:buNone/>
            </a:pPr>
            <a: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never disable </a:t>
            </a:r>
            <a:b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fety devices 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4664356-804E-A55B-6C83-A7EE24CFA665}"/>
              </a:ext>
            </a:extLst>
          </p:cNvPr>
          <p:cNvSpPr txBox="1">
            <a:spLocks/>
          </p:cNvSpPr>
          <p:nvPr/>
        </p:nvSpPr>
        <p:spPr bwMode="auto">
          <a:xfrm>
            <a:off x="306388" y="1998785"/>
            <a:ext cx="2959326" cy="250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6300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1pPr>
            <a:lvl2pPr marL="405000" indent="-20359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2pPr>
            <a:lvl3pPr marL="607219" indent="-19883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3pPr>
            <a:lvl4pPr marL="810816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4pPr>
            <a:lvl5pPr marL="10144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5pPr>
            <a:lvl6pPr marL="13573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6pPr>
            <a:lvl7pPr marL="17002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7pPr>
            <a:lvl8pPr marL="20431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8pPr>
            <a:lvl9pPr marL="23860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indent="0" defTabSz="914400">
              <a:spcAft>
                <a:spcPts val="200"/>
              </a:spcAft>
              <a:buNone/>
            </a:pPr>
            <a:r>
              <a:rPr lang="en-GB" sz="900" kern="0" dirty="0">
                <a:solidFill>
                  <a:schemeClr val="bg2"/>
                </a:solidFill>
              </a:rPr>
              <a:t>Involved in 1 fatal event since 2017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0AEF7C0-3782-2A5D-AB05-0A54D3D631D2}"/>
              </a:ext>
            </a:extLst>
          </p:cNvPr>
          <p:cNvSpPr txBox="1">
            <a:spLocks/>
          </p:cNvSpPr>
          <p:nvPr/>
        </p:nvSpPr>
        <p:spPr bwMode="auto">
          <a:xfrm>
            <a:off x="306388" y="2248396"/>
            <a:ext cx="4265612" cy="1297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6300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1pPr>
            <a:lvl2pPr marL="405000" indent="-20359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2pPr>
            <a:lvl3pPr marL="607219" indent="-19883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3pPr>
            <a:lvl4pPr marL="810816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4pPr>
            <a:lvl5pPr marL="10144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5pPr>
            <a:lvl6pPr marL="13573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6pPr>
            <a:lvl7pPr marL="17002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7pPr>
            <a:lvl8pPr marL="20431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8pPr>
            <a:lvl9pPr marL="23860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indent="0" defTabSz="914400">
              <a:spcAft>
                <a:spcPts val="200"/>
              </a:spcAft>
              <a:buNone/>
            </a:pPr>
            <a:r>
              <a:rPr lang="en-GB" sz="900" kern="0" dirty="0"/>
              <a:t>Practical examples of expected behaviours: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always put back in place safety devices at the end of the work</a:t>
            </a:r>
            <a:br>
              <a:rPr lang="en-GB" sz="900" kern="0" dirty="0"/>
            </a:br>
            <a:r>
              <a:rPr lang="en-GB" sz="900" kern="0" dirty="0"/>
              <a:t>and check their effectiveness before removing my personal lock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speak up if a safety device is damaged or misfunctioning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f absolutely necessary to temporarily override or disable a </a:t>
            </a:r>
            <a:br>
              <a:rPr lang="en-GB" sz="900" kern="0" dirty="0"/>
            </a:br>
            <a:r>
              <a:rPr lang="en-GB" sz="900" kern="0" dirty="0"/>
              <a:t>safety device, I first obtain my leader’s written authorisation, </a:t>
            </a:r>
            <a:br>
              <a:rPr lang="en-GB" sz="900" kern="0" dirty="0"/>
            </a:br>
            <a:r>
              <a:rPr lang="en-GB" sz="900" kern="0" dirty="0"/>
              <a:t>I perform a specific corresponding risks analysis, and I </a:t>
            </a:r>
            <a:br>
              <a:rPr lang="en-GB" sz="900" kern="0" dirty="0"/>
            </a:br>
            <a:r>
              <a:rPr lang="en-GB" sz="900" kern="0" dirty="0"/>
              <a:t>implement its controls (for example exclusion zones)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23797A3-7459-0BA0-706B-D1178F593C9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79998" y="647998"/>
            <a:ext cx="4140000" cy="4140000"/>
          </a:xfrm>
          <a:prstGeom prst="ellipse">
            <a:avLst/>
          </a:prstGeom>
        </p:spPr>
      </p:pic>
      <p:sp>
        <p:nvSpPr>
          <p:cNvPr id="21" name="Content Placeholder 6">
            <a:extLst>
              <a:ext uri="{FF2B5EF4-FFF2-40B4-BE49-F238E27FC236}">
                <a16:creationId xmlns:a16="http://schemas.microsoft.com/office/drawing/2014/main" id="{6DAF0AE6-FBF5-9647-30E8-B94CEF9C85FC}"/>
              </a:ext>
            </a:extLst>
          </p:cNvPr>
          <p:cNvSpPr txBox="1">
            <a:spLocks/>
          </p:cNvSpPr>
          <p:nvPr/>
        </p:nvSpPr>
        <p:spPr>
          <a:xfrm>
            <a:off x="306386" y="248116"/>
            <a:ext cx="5001593" cy="37723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200"/>
              </a:lnSpc>
              <a:spcBef>
                <a:spcPts val="400"/>
              </a:spcBef>
              <a:buNone/>
            </a:pPr>
            <a:r>
              <a:rPr lang="en-US" sz="190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 Saving Golden Rules</a:t>
            </a:r>
          </a:p>
        </p:txBody>
      </p:sp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76B9DF87-CD15-F359-DA35-67AF2442BAA9}"/>
              </a:ext>
            </a:extLst>
          </p:cNvPr>
          <p:cNvSpPr txBox="1">
            <a:spLocks/>
          </p:cNvSpPr>
          <p:nvPr/>
        </p:nvSpPr>
        <p:spPr>
          <a:xfrm>
            <a:off x="306387" y="572567"/>
            <a:ext cx="3642950" cy="2095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200" b="1" kern="0" dirty="0">
                <a:solidFill>
                  <a:srgbClr val="414141"/>
                </a:solidFill>
                <a:latin typeface="Arial" panose="020B0604020202020204" pitchFamily="34" charset="0"/>
                <a:ea typeface="MS PGothic"/>
                <a:cs typeface="Arial" panose="020B0604020202020204" pitchFamily="34" charset="0"/>
              </a:rPr>
              <a:t>Respect them to stay alive</a:t>
            </a:r>
          </a:p>
        </p:txBody>
      </p:sp>
    </p:spTree>
    <p:extLst>
      <p:ext uri="{BB962C8B-B14F-4D97-AF65-F5344CB8AC3E}">
        <p14:creationId xmlns:p14="http://schemas.microsoft.com/office/powerpoint/2010/main" val="78870976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E421D2B1-8981-EE88-543D-8558D075283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0889" y="864000"/>
            <a:ext cx="360000" cy="360000"/>
          </a:xfrm>
          <a:prstGeom prst="rect">
            <a:avLst/>
          </a:prstGeom>
        </p:spPr>
      </p:pic>
      <p:sp>
        <p:nvSpPr>
          <p:cNvPr id="13" name="Content Placeholder 6">
            <a:extLst>
              <a:ext uri="{FF2B5EF4-FFF2-40B4-BE49-F238E27FC236}">
                <a16:creationId xmlns:a16="http://schemas.microsoft.com/office/drawing/2014/main" id="{58AF4E81-184A-7F42-CDCB-F008835C2966}"/>
              </a:ext>
            </a:extLst>
          </p:cNvPr>
          <p:cNvSpPr txBox="1">
            <a:spLocks/>
          </p:cNvSpPr>
          <p:nvPr/>
        </p:nvSpPr>
        <p:spPr>
          <a:xfrm>
            <a:off x="306387" y="1316342"/>
            <a:ext cx="4157616" cy="6842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400"/>
              </a:spcBef>
              <a:buNone/>
            </a:pPr>
            <a: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respect all the H&amp;S rules, </a:t>
            </a:r>
            <a:b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ndards and signals and </a:t>
            </a:r>
            <a:b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wear the required PP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4ACE029C-8702-C05C-01B8-A193BBD4FA43}"/>
              </a:ext>
            </a:extLst>
          </p:cNvPr>
          <p:cNvSpPr txBox="1">
            <a:spLocks/>
          </p:cNvSpPr>
          <p:nvPr/>
        </p:nvSpPr>
        <p:spPr bwMode="auto">
          <a:xfrm>
            <a:off x="306387" y="2528733"/>
            <a:ext cx="4265613" cy="1297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6300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1pPr>
            <a:lvl2pPr marL="405000" indent="-20359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2pPr>
            <a:lvl3pPr marL="607219" indent="-19883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3pPr>
            <a:lvl4pPr marL="810816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4pPr>
            <a:lvl5pPr marL="10144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5pPr>
            <a:lvl6pPr marL="13573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6pPr>
            <a:lvl7pPr marL="17002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7pPr>
            <a:lvl8pPr marL="20431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8pPr>
            <a:lvl9pPr marL="23860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indent="0" defTabSz="914400">
              <a:spcAft>
                <a:spcPts val="200"/>
              </a:spcAft>
              <a:buNone/>
            </a:pPr>
            <a:r>
              <a:rPr lang="en-GB" sz="900" kern="0" dirty="0"/>
              <a:t>Practical examples of expected behaviours: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respect all the risks controls according to the job </a:t>
            </a:r>
            <a:br>
              <a:rPr lang="en-GB" sz="900" kern="0" dirty="0"/>
            </a:br>
            <a:r>
              <a:rPr lang="en-GB" sz="900" kern="0" dirty="0"/>
              <a:t>risks analysis and Standards Operating Practices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obtain a work permit, when required, before starting the job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ask questions if something is unclear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communicate clearly and use 3-way </a:t>
            </a:r>
            <a:br>
              <a:rPr lang="en-GB" sz="900" kern="0" dirty="0"/>
            </a:br>
            <a:r>
              <a:rPr lang="en-GB" sz="900" kern="0" dirty="0"/>
              <a:t>communication for critical messages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scan my environment for hazards and practise shared vigilance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immediately STOP the work and speak up when </a:t>
            </a:r>
            <a:br>
              <a:rPr lang="en-GB" sz="900" kern="0" dirty="0"/>
            </a:br>
            <a:r>
              <a:rPr lang="en-GB" sz="900" kern="0" dirty="0"/>
              <a:t>a life saving golden rule is not respected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F9E1C0AB-734B-F440-966F-D86A8A76C502}"/>
              </a:ext>
            </a:extLst>
          </p:cNvPr>
          <p:cNvSpPr txBox="1">
            <a:spLocks/>
          </p:cNvSpPr>
          <p:nvPr/>
        </p:nvSpPr>
        <p:spPr bwMode="auto">
          <a:xfrm>
            <a:off x="306388" y="2276320"/>
            <a:ext cx="2959326" cy="250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6300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1pPr>
            <a:lvl2pPr marL="405000" indent="-20359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2pPr>
            <a:lvl3pPr marL="607219" indent="-19883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3pPr>
            <a:lvl4pPr marL="810816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4pPr>
            <a:lvl5pPr marL="10144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5pPr>
            <a:lvl6pPr marL="13573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6pPr>
            <a:lvl7pPr marL="17002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7pPr>
            <a:lvl8pPr marL="20431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8pPr>
            <a:lvl9pPr marL="23860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indent="0" defTabSz="914400">
              <a:spcAft>
                <a:spcPts val="200"/>
              </a:spcAft>
              <a:buNone/>
            </a:pPr>
            <a:r>
              <a:rPr lang="en-GB" sz="900" kern="0" dirty="0">
                <a:solidFill>
                  <a:schemeClr val="bg2"/>
                </a:solidFill>
              </a:rPr>
              <a:t>Involved in 32 fatal events since 2017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1E8E760-9299-E84F-E571-BBE950523E1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79998" y="647999"/>
            <a:ext cx="4140000" cy="4140000"/>
          </a:xfrm>
          <a:prstGeom prst="ellipse">
            <a:avLst/>
          </a:prstGeom>
        </p:spPr>
      </p:pic>
      <p:sp>
        <p:nvSpPr>
          <p:cNvPr id="21" name="Content Placeholder 6">
            <a:extLst>
              <a:ext uri="{FF2B5EF4-FFF2-40B4-BE49-F238E27FC236}">
                <a16:creationId xmlns:a16="http://schemas.microsoft.com/office/drawing/2014/main" id="{C5CC2EEE-9E02-BA4E-B534-344D9248AB28}"/>
              </a:ext>
            </a:extLst>
          </p:cNvPr>
          <p:cNvSpPr txBox="1">
            <a:spLocks/>
          </p:cNvSpPr>
          <p:nvPr/>
        </p:nvSpPr>
        <p:spPr>
          <a:xfrm>
            <a:off x="306386" y="248116"/>
            <a:ext cx="5001593" cy="37723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200"/>
              </a:lnSpc>
              <a:spcBef>
                <a:spcPts val="400"/>
              </a:spcBef>
              <a:buNone/>
            </a:pPr>
            <a:r>
              <a:rPr lang="en-US" sz="190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 Saving Golden Rules</a:t>
            </a:r>
          </a:p>
        </p:txBody>
      </p:sp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F2D7D567-FED6-6FC1-8702-6744480D87B7}"/>
              </a:ext>
            </a:extLst>
          </p:cNvPr>
          <p:cNvSpPr txBox="1">
            <a:spLocks/>
          </p:cNvSpPr>
          <p:nvPr/>
        </p:nvSpPr>
        <p:spPr>
          <a:xfrm>
            <a:off x="306387" y="572567"/>
            <a:ext cx="3642950" cy="2095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200" b="1" kern="0" dirty="0">
                <a:solidFill>
                  <a:srgbClr val="414141"/>
                </a:solidFill>
                <a:latin typeface="Arial" panose="020B0604020202020204" pitchFamily="34" charset="0"/>
                <a:ea typeface="MS PGothic"/>
                <a:cs typeface="Arial" panose="020B0604020202020204" pitchFamily="34" charset="0"/>
              </a:rPr>
              <a:t>Respect them to stay alive</a:t>
            </a:r>
          </a:p>
        </p:txBody>
      </p:sp>
    </p:spTree>
    <p:extLst>
      <p:ext uri="{BB962C8B-B14F-4D97-AF65-F5344CB8AC3E}">
        <p14:creationId xmlns:p14="http://schemas.microsoft.com/office/powerpoint/2010/main" val="41058529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3FF3C9C2-C086-9844-A768-1A44749BD6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80000" y="648000"/>
            <a:ext cx="4140000" cy="4140000"/>
          </a:xfrm>
          <a:prstGeom prst="ellipse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135E5FE-4210-1999-BC3D-C6EDCEDEA1C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0889" y="864000"/>
            <a:ext cx="360000" cy="360000"/>
          </a:xfrm>
          <a:prstGeom prst="rect">
            <a:avLst/>
          </a:prstGeom>
        </p:spPr>
      </p:pic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4B1C562-203F-E1F5-3E8A-67C370577A11}"/>
              </a:ext>
            </a:extLst>
          </p:cNvPr>
          <p:cNvSpPr txBox="1">
            <a:spLocks/>
          </p:cNvSpPr>
          <p:nvPr/>
        </p:nvSpPr>
        <p:spPr bwMode="auto">
          <a:xfrm>
            <a:off x="306388" y="1691210"/>
            <a:ext cx="2959326" cy="250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6300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1pPr>
            <a:lvl2pPr marL="405000" indent="-20359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2pPr>
            <a:lvl3pPr marL="607219" indent="-19883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3pPr>
            <a:lvl4pPr marL="810816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4pPr>
            <a:lvl5pPr marL="10144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5pPr>
            <a:lvl6pPr marL="13573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6pPr>
            <a:lvl7pPr marL="17002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7pPr>
            <a:lvl8pPr marL="20431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8pPr>
            <a:lvl9pPr marL="23860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indent="0" defTabSz="914400">
              <a:spcAft>
                <a:spcPts val="200"/>
              </a:spcAft>
              <a:buNone/>
            </a:pPr>
            <a:r>
              <a:rPr lang="en-GB" sz="900" kern="0" dirty="0">
                <a:solidFill>
                  <a:schemeClr val="bg2"/>
                </a:solidFill>
              </a:rPr>
              <a:t>Involved in 2 fatal events since 2017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9CE7D979-224F-996B-8C73-5B21AFE1BAE1}"/>
              </a:ext>
            </a:extLst>
          </p:cNvPr>
          <p:cNvSpPr txBox="1">
            <a:spLocks/>
          </p:cNvSpPr>
          <p:nvPr/>
        </p:nvSpPr>
        <p:spPr bwMode="auto">
          <a:xfrm>
            <a:off x="306388" y="1941389"/>
            <a:ext cx="4265612" cy="1297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6300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1pPr>
            <a:lvl2pPr marL="405000" indent="-20359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2pPr>
            <a:lvl3pPr marL="607219" indent="-19883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3pPr>
            <a:lvl4pPr marL="810816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4pPr>
            <a:lvl5pPr marL="10144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5pPr>
            <a:lvl6pPr marL="13573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6pPr>
            <a:lvl7pPr marL="17002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7pPr>
            <a:lvl8pPr marL="20431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8pPr>
            <a:lvl9pPr marL="23860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indent="0" defTabSz="914400">
              <a:spcAft>
                <a:spcPts val="200"/>
              </a:spcAft>
              <a:buNone/>
            </a:pPr>
            <a:r>
              <a:rPr lang="en-GB" sz="900" kern="0" dirty="0"/>
              <a:t>Practical examples of expected behaviours: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work free from the influence of alcohol, drugs (illegal or legal)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f I take some medication impacting my alertness,</a:t>
            </a:r>
            <a:br>
              <a:rPr lang="en-GB" sz="900" kern="0" dirty="0"/>
            </a:br>
            <a:r>
              <a:rPr lang="en-GB" sz="900" kern="0" dirty="0"/>
              <a:t>I talk to my occupational physician 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speak up to my colleagues and leader if I feel unwell,</a:t>
            </a:r>
            <a:br>
              <a:rPr lang="en-GB" sz="900" kern="0" dirty="0"/>
            </a:br>
            <a:r>
              <a:rPr lang="en-GB" sz="900" kern="0" dirty="0"/>
              <a:t>over-stressed or if time pressure is beyond my ability to work safe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pay attention to my colleagues’ condition</a:t>
            </a:r>
          </a:p>
        </p:txBody>
      </p:sp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822C8CEE-25D1-64F5-CA00-C5CFA7727682}"/>
              </a:ext>
            </a:extLst>
          </p:cNvPr>
          <p:cNvSpPr txBox="1">
            <a:spLocks/>
          </p:cNvSpPr>
          <p:nvPr/>
        </p:nvSpPr>
        <p:spPr>
          <a:xfrm>
            <a:off x="306387" y="1316342"/>
            <a:ext cx="3870325" cy="360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400"/>
              </a:spcBef>
              <a:buNone/>
            </a:pPr>
            <a: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work in a “fit and able” condition</a:t>
            </a:r>
          </a:p>
        </p:txBody>
      </p:sp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347D6DF3-2B30-CF54-04C0-ECDD686E443E}"/>
              </a:ext>
            </a:extLst>
          </p:cNvPr>
          <p:cNvSpPr txBox="1">
            <a:spLocks/>
          </p:cNvSpPr>
          <p:nvPr/>
        </p:nvSpPr>
        <p:spPr>
          <a:xfrm>
            <a:off x="306386" y="248116"/>
            <a:ext cx="5001593" cy="37723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200"/>
              </a:lnSpc>
              <a:spcBef>
                <a:spcPts val="400"/>
              </a:spcBef>
              <a:buNone/>
            </a:pPr>
            <a:r>
              <a:rPr lang="en-US" sz="190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 Saving Golden Rules</a:t>
            </a:r>
          </a:p>
        </p:txBody>
      </p:sp>
      <p:sp>
        <p:nvSpPr>
          <p:cNvPr id="21" name="Content Placeholder 6">
            <a:extLst>
              <a:ext uri="{FF2B5EF4-FFF2-40B4-BE49-F238E27FC236}">
                <a16:creationId xmlns:a16="http://schemas.microsoft.com/office/drawing/2014/main" id="{27472161-23A6-7F2A-C408-022FBE4656EF}"/>
              </a:ext>
            </a:extLst>
          </p:cNvPr>
          <p:cNvSpPr txBox="1">
            <a:spLocks/>
          </p:cNvSpPr>
          <p:nvPr/>
        </p:nvSpPr>
        <p:spPr>
          <a:xfrm>
            <a:off x="306387" y="572567"/>
            <a:ext cx="3642950" cy="2095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200" b="1" kern="0" dirty="0">
                <a:solidFill>
                  <a:srgbClr val="414141"/>
                </a:solidFill>
                <a:latin typeface="Arial" panose="020B0604020202020204" pitchFamily="34" charset="0"/>
                <a:ea typeface="MS PGothic"/>
                <a:cs typeface="Arial" panose="020B0604020202020204" pitchFamily="34" charset="0"/>
              </a:rPr>
              <a:t>Respect them to stay alive</a:t>
            </a:r>
          </a:p>
        </p:txBody>
      </p:sp>
    </p:spTree>
    <p:extLst>
      <p:ext uri="{BB962C8B-B14F-4D97-AF65-F5344CB8AC3E}">
        <p14:creationId xmlns:p14="http://schemas.microsoft.com/office/powerpoint/2010/main" val="153007799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ACA4480C-203E-A578-49FB-CF83BD3F858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0890" y="864000"/>
            <a:ext cx="360334" cy="360000"/>
          </a:xfrm>
          <a:prstGeom prst="rect">
            <a:avLst/>
          </a:prstGeom>
        </p:spPr>
      </p:pic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1541F70C-4D59-8FE3-23E6-D2FDB3C3D478}"/>
              </a:ext>
            </a:extLst>
          </p:cNvPr>
          <p:cNvSpPr txBox="1">
            <a:spLocks/>
          </p:cNvSpPr>
          <p:nvPr/>
        </p:nvSpPr>
        <p:spPr>
          <a:xfrm>
            <a:off x="306387" y="1316342"/>
            <a:ext cx="3953379" cy="6697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400"/>
              </a:spcBef>
              <a:buNone/>
            </a:pPr>
            <a: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use fall prevention or protection when the risk of falling is beyond </a:t>
            </a:r>
            <a:r>
              <a:rPr lang="en-US" sz="1750" b="1" spc="-15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175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8</a:t>
            </a:r>
            <a: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58E8F241-EA9A-EFFB-128F-A6BEE527540A}"/>
              </a:ext>
            </a:extLst>
          </p:cNvPr>
          <p:cNvSpPr txBox="1">
            <a:spLocks/>
          </p:cNvSpPr>
          <p:nvPr/>
        </p:nvSpPr>
        <p:spPr bwMode="auto">
          <a:xfrm>
            <a:off x="306388" y="1986131"/>
            <a:ext cx="2959326" cy="250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6300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1pPr>
            <a:lvl2pPr marL="405000" indent="-20359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2pPr>
            <a:lvl3pPr marL="607219" indent="-19883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3pPr>
            <a:lvl4pPr marL="810816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4pPr>
            <a:lvl5pPr marL="10144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5pPr>
            <a:lvl6pPr marL="13573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6pPr>
            <a:lvl7pPr marL="17002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7pPr>
            <a:lvl8pPr marL="20431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8pPr>
            <a:lvl9pPr marL="23860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indent="0" defTabSz="914400">
              <a:spcAft>
                <a:spcPts val="200"/>
              </a:spcAft>
              <a:buNone/>
            </a:pPr>
            <a:r>
              <a:rPr lang="en-GB" sz="900" kern="0" dirty="0">
                <a:solidFill>
                  <a:schemeClr val="bg2"/>
                </a:solidFill>
              </a:rPr>
              <a:t>Involved in 12 fatal events since 2017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BB984E41-47C8-30F7-D97B-EAD40DCDCEA5}"/>
              </a:ext>
            </a:extLst>
          </p:cNvPr>
          <p:cNvSpPr txBox="1">
            <a:spLocks/>
          </p:cNvSpPr>
          <p:nvPr/>
        </p:nvSpPr>
        <p:spPr bwMode="auto">
          <a:xfrm>
            <a:off x="306386" y="2230605"/>
            <a:ext cx="4265613" cy="1297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6300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1pPr>
            <a:lvl2pPr marL="405000" indent="-20359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2pPr>
            <a:lvl3pPr marL="607219" indent="-19883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3pPr>
            <a:lvl4pPr marL="810816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4pPr>
            <a:lvl5pPr marL="10144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5pPr>
            <a:lvl6pPr marL="13573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6pPr>
            <a:lvl7pPr marL="17002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7pPr>
            <a:lvl8pPr marL="20431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8pPr>
            <a:lvl9pPr marL="23860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indent="0" defTabSz="914400">
              <a:spcAft>
                <a:spcPts val="200"/>
              </a:spcAft>
              <a:buNone/>
            </a:pPr>
            <a:r>
              <a:rPr lang="en-GB" sz="900" kern="0" dirty="0"/>
              <a:t>Practical examples of expected behaviours: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understand and identify working at height hazards,</a:t>
            </a:r>
            <a:br>
              <a:rPr lang="en-GB" sz="900" kern="0" dirty="0"/>
            </a:br>
            <a:r>
              <a:rPr lang="en-GB" sz="900" kern="0" dirty="0"/>
              <a:t>including but not limited to roofs, fragile or poorly-guarded</a:t>
            </a:r>
            <a:br>
              <a:rPr lang="en-GB" sz="900" kern="0" dirty="0"/>
            </a:br>
            <a:r>
              <a:rPr lang="en-GB" sz="900" kern="0" dirty="0"/>
              <a:t>structures, floor opening and water along docks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understand and sign off the risk analysis. I apply </a:t>
            </a:r>
            <a:br>
              <a:rPr lang="en-GB" sz="900" kern="0" dirty="0"/>
            </a:br>
            <a:r>
              <a:rPr lang="en-GB" sz="900" kern="0" dirty="0"/>
              <a:t>all its foreseen controls, 100%, at all times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n particular, I tie off 100% to approved anchor points </a:t>
            </a:r>
            <a:br>
              <a:rPr lang="en-GB" sz="900" kern="0" dirty="0"/>
            </a:br>
            <a:r>
              <a:rPr lang="en-GB" sz="900" kern="0" dirty="0"/>
              <a:t>while outside a protected designated area 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keep my chinstrap clipped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BE5CE678-4ED2-8D65-B3C5-06191CD2502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80000" y="648000"/>
            <a:ext cx="4140000" cy="4140000"/>
          </a:xfrm>
          <a:prstGeom prst="ellipse">
            <a:avLst/>
          </a:prstGeom>
        </p:spPr>
      </p:pic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FEFA537B-077F-D1A5-B05A-7457990D3B69}"/>
              </a:ext>
            </a:extLst>
          </p:cNvPr>
          <p:cNvSpPr txBox="1">
            <a:spLocks/>
          </p:cNvSpPr>
          <p:nvPr/>
        </p:nvSpPr>
        <p:spPr>
          <a:xfrm>
            <a:off x="306386" y="248116"/>
            <a:ext cx="5001593" cy="37723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200"/>
              </a:lnSpc>
              <a:spcBef>
                <a:spcPts val="400"/>
              </a:spcBef>
              <a:buNone/>
            </a:pPr>
            <a:r>
              <a:rPr lang="en-US" sz="190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 Saving Golden Rules</a:t>
            </a:r>
          </a:p>
        </p:txBody>
      </p:sp>
      <p:sp>
        <p:nvSpPr>
          <p:cNvPr id="23" name="Content Placeholder 6">
            <a:extLst>
              <a:ext uri="{FF2B5EF4-FFF2-40B4-BE49-F238E27FC236}">
                <a16:creationId xmlns:a16="http://schemas.microsoft.com/office/drawing/2014/main" id="{62438872-F26D-E61D-27AF-DC58B3979DCA}"/>
              </a:ext>
            </a:extLst>
          </p:cNvPr>
          <p:cNvSpPr txBox="1">
            <a:spLocks/>
          </p:cNvSpPr>
          <p:nvPr/>
        </p:nvSpPr>
        <p:spPr>
          <a:xfrm>
            <a:off x="306387" y="572567"/>
            <a:ext cx="3642950" cy="2095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200" b="1" kern="0" dirty="0">
                <a:solidFill>
                  <a:srgbClr val="414141"/>
                </a:solidFill>
                <a:latin typeface="Arial" panose="020B0604020202020204" pitchFamily="34" charset="0"/>
                <a:ea typeface="MS PGothic"/>
                <a:cs typeface="Arial" panose="020B0604020202020204" pitchFamily="34" charset="0"/>
              </a:rPr>
              <a:t>Respect them to stay alive</a:t>
            </a:r>
          </a:p>
        </p:txBody>
      </p:sp>
    </p:spTree>
    <p:extLst>
      <p:ext uri="{BB962C8B-B14F-4D97-AF65-F5344CB8AC3E}">
        <p14:creationId xmlns:p14="http://schemas.microsoft.com/office/powerpoint/2010/main" val="20975752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ECC704D1-F045-422E-9D86-04C7378F3BD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0890" y="864000"/>
            <a:ext cx="360334" cy="360000"/>
          </a:xfrm>
          <a:prstGeom prst="rect">
            <a:avLst/>
          </a:prstGeom>
        </p:spPr>
      </p:pic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5C3A43F-2054-18DA-0A08-5BD00A9FE024}"/>
              </a:ext>
            </a:extLst>
          </p:cNvPr>
          <p:cNvSpPr txBox="1">
            <a:spLocks/>
          </p:cNvSpPr>
          <p:nvPr/>
        </p:nvSpPr>
        <p:spPr bwMode="auto">
          <a:xfrm>
            <a:off x="306388" y="2239238"/>
            <a:ext cx="4265612" cy="1297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6300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1pPr>
            <a:lvl2pPr marL="405000" indent="-20359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2pPr>
            <a:lvl3pPr marL="607219" indent="-19883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3pPr>
            <a:lvl4pPr marL="810816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4pPr>
            <a:lvl5pPr marL="10144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5pPr>
            <a:lvl6pPr marL="13573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6pPr>
            <a:lvl7pPr marL="17002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7pPr>
            <a:lvl8pPr marL="20431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8pPr>
            <a:lvl9pPr marL="23860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indent="0" defTabSz="914400">
              <a:spcAft>
                <a:spcPts val="200"/>
              </a:spcAft>
              <a:buNone/>
            </a:pPr>
            <a:r>
              <a:rPr lang="en-GB" sz="900" kern="0" dirty="0"/>
              <a:t>Practical examples of expected behaviours: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respect isolation requirements prior to </a:t>
            </a:r>
            <a:br>
              <a:rPr lang="en-GB" sz="900" kern="0" dirty="0"/>
            </a:br>
            <a:r>
              <a:rPr lang="en-GB" sz="900" kern="0" dirty="0"/>
              <a:t>working on any piece of equipment</a:t>
            </a:r>
          </a:p>
          <a:p>
            <a:pPr marL="133350" indent="-133350" defTabSz="914400">
              <a:spcAft>
                <a:spcPts val="200"/>
              </a:spcAft>
              <a:buFontTx/>
              <a:buNone/>
            </a:pPr>
            <a:r>
              <a:rPr lang="en-GB" sz="900" kern="0" dirty="0"/>
              <a:t>b.	I follow isolation procedures, step by step</a:t>
            </a:r>
          </a:p>
          <a:p>
            <a:pPr marL="133350" indent="-133350" defTabSz="914400">
              <a:spcAft>
                <a:spcPts val="200"/>
              </a:spcAft>
              <a:buFontTx/>
              <a:buNone/>
            </a:pPr>
            <a:r>
              <a:rPr lang="en-GB" sz="900" kern="0" dirty="0"/>
              <a:t>c.	I understand and respect the 3 phases of the </a:t>
            </a:r>
            <a:br>
              <a:rPr lang="en-GB" sz="900" kern="0" dirty="0"/>
            </a:br>
            <a:r>
              <a:rPr lang="en-GB" sz="900" kern="0" dirty="0"/>
              <a:t>Lock Out – Tag Out – Try Out isolation process </a:t>
            </a:r>
          </a:p>
          <a:p>
            <a:pPr marL="139700" indent="-133350" defTabSz="914400">
              <a:spcAft>
                <a:spcPts val="200"/>
              </a:spcAft>
              <a:buFont typeface="+mj-lt"/>
              <a:buAutoNum type="alphaLcPeriod" startAt="4"/>
              <a:tabLst>
                <a:tab pos="131763" algn="l"/>
              </a:tabLst>
            </a:pPr>
            <a:r>
              <a:rPr lang="en-GB" sz="900" kern="0" dirty="0"/>
              <a:t>In particular:</a:t>
            </a:r>
          </a:p>
          <a:p>
            <a:pPr marL="0" indent="0" defTabSz="914400">
              <a:spcAft>
                <a:spcPts val="200"/>
              </a:spcAft>
              <a:buNone/>
              <a:tabLst>
                <a:tab pos="133350" algn="l"/>
              </a:tabLst>
            </a:pPr>
            <a:r>
              <a:rPr lang="en-GB" sz="900" kern="0" dirty="0"/>
              <a:t>	• I put my personal lock on the identified element </a:t>
            </a:r>
            <a:br>
              <a:rPr lang="en-GB" sz="900" kern="0" dirty="0"/>
            </a:br>
            <a:r>
              <a:rPr lang="en-GB" sz="900" kern="0" dirty="0"/>
              <a:t>	  (lockbox): 1 person – 1 key – 1 lock</a:t>
            </a:r>
          </a:p>
          <a:p>
            <a:pPr marL="0" indent="0" defTabSz="914400">
              <a:spcAft>
                <a:spcPts val="200"/>
              </a:spcAft>
              <a:buNone/>
              <a:tabLst>
                <a:tab pos="133350" algn="l"/>
              </a:tabLst>
            </a:pPr>
            <a:r>
              <a:rPr lang="en-GB" sz="900" kern="0" dirty="0"/>
              <a:t>	• I check dissipations of residual energies or have </a:t>
            </a:r>
            <a:br>
              <a:rPr lang="en-GB" sz="900" kern="0" dirty="0"/>
            </a:br>
            <a:r>
              <a:rPr lang="en-GB" sz="900" kern="0" dirty="0"/>
              <a:t>	  them checked by a competent person</a:t>
            </a:r>
          </a:p>
          <a:p>
            <a:pPr marL="133350" indent="-133350" defTabSz="914400">
              <a:spcAft>
                <a:spcPts val="200"/>
              </a:spcAft>
              <a:buFont typeface="+mj-lt"/>
              <a:buAutoNum type="alphaLcPeriod" startAt="5"/>
            </a:pPr>
            <a:r>
              <a:rPr lang="en-GB" sz="900" kern="0" dirty="0"/>
              <a:t>If it is absolutely necessary to work on equipment under no or partial isolation </a:t>
            </a:r>
            <a:br>
              <a:rPr lang="en-GB" sz="900" kern="0" dirty="0"/>
            </a:br>
            <a:r>
              <a:rPr lang="en-GB" sz="900" kern="0" dirty="0"/>
              <a:t>(for example, for fault diagnosis), I obtain written authorisation from my leader, </a:t>
            </a:r>
            <a:br>
              <a:rPr lang="en-GB" sz="900" kern="0" dirty="0"/>
            </a:br>
            <a:r>
              <a:rPr lang="en-GB" sz="900" kern="0" dirty="0"/>
              <a:t>perform a specific risks analysis and respect all its controls</a:t>
            </a:r>
          </a:p>
        </p:txBody>
      </p:sp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A00E6B06-2C10-176C-9673-8D7E4D2A7F11}"/>
              </a:ext>
            </a:extLst>
          </p:cNvPr>
          <p:cNvSpPr txBox="1">
            <a:spLocks/>
          </p:cNvSpPr>
          <p:nvPr/>
        </p:nvSpPr>
        <p:spPr>
          <a:xfrm>
            <a:off x="306387" y="1321616"/>
            <a:ext cx="3870326" cy="60733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400"/>
              </a:spcBef>
              <a:buNone/>
            </a:pPr>
            <a: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follow the </a:t>
            </a:r>
            <a:b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olation procedur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98ABEE5C-3064-A957-FCC5-C8601BC00895}"/>
              </a:ext>
            </a:extLst>
          </p:cNvPr>
          <p:cNvSpPr txBox="1">
            <a:spLocks/>
          </p:cNvSpPr>
          <p:nvPr/>
        </p:nvSpPr>
        <p:spPr bwMode="auto">
          <a:xfrm>
            <a:off x="306388" y="1989059"/>
            <a:ext cx="2959326" cy="250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6300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1pPr>
            <a:lvl2pPr marL="405000" indent="-20359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2pPr>
            <a:lvl3pPr marL="607219" indent="-19883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3pPr>
            <a:lvl4pPr marL="810816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4pPr>
            <a:lvl5pPr marL="10144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5pPr>
            <a:lvl6pPr marL="13573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6pPr>
            <a:lvl7pPr marL="17002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7pPr>
            <a:lvl8pPr marL="20431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8pPr>
            <a:lvl9pPr marL="23860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indent="0" defTabSz="914400">
              <a:spcAft>
                <a:spcPts val="200"/>
              </a:spcAft>
              <a:buNone/>
            </a:pPr>
            <a:r>
              <a:rPr lang="en-GB" sz="900" kern="0" dirty="0">
                <a:solidFill>
                  <a:schemeClr val="bg2"/>
                </a:solidFill>
              </a:rPr>
              <a:t>Involved in 18 fatal events since 2017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FF45159B-052D-8310-E00A-AC6382D41EA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80000" y="648000"/>
            <a:ext cx="4140000" cy="4140000"/>
          </a:xfrm>
          <a:prstGeom prst="ellipse">
            <a:avLst/>
          </a:prstGeom>
        </p:spPr>
      </p:pic>
      <p:sp>
        <p:nvSpPr>
          <p:cNvPr id="21" name="Content Placeholder 6">
            <a:extLst>
              <a:ext uri="{FF2B5EF4-FFF2-40B4-BE49-F238E27FC236}">
                <a16:creationId xmlns:a16="http://schemas.microsoft.com/office/drawing/2014/main" id="{5E178C86-870F-A865-4047-B318DCDE88F9}"/>
              </a:ext>
            </a:extLst>
          </p:cNvPr>
          <p:cNvSpPr txBox="1">
            <a:spLocks/>
          </p:cNvSpPr>
          <p:nvPr/>
        </p:nvSpPr>
        <p:spPr>
          <a:xfrm>
            <a:off x="306386" y="248116"/>
            <a:ext cx="5001593" cy="37723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200"/>
              </a:lnSpc>
              <a:spcBef>
                <a:spcPts val="400"/>
              </a:spcBef>
              <a:buNone/>
            </a:pPr>
            <a:r>
              <a:rPr lang="en-US" sz="190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 Saving Golden Rules</a:t>
            </a:r>
          </a:p>
        </p:txBody>
      </p:sp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A11A9E01-9947-6420-15CD-88D3F872F3F1}"/>
              </a:ext>
            </a:extLst>
          </p:cNvPr>
          <p:cNvSpPr txBox="1">
            <a:spLocks/>
          </p:cNvSpPr>
          <p:nvPr/>
        </p:nvSpPr>
        <p:spPr>
          <a:xfrm>
            <a:off x="306387" y="572567"/>
            <a:ext cx="3642950" cy="2095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200" b="1" kern="0" dirty="0">
                <a:solidFill>
                  <a:srgbClr val="414141"/>
                </a:solidFill>
                <a:latin typeface="Arial" panose="020B0604020202020204" pitchFamily="34" charset="0"/>
                <a:ea typeface="MS PGothic"/>
                <a:cs typeface="Arial" panose="020B0604020202020204" pitchFamily="34" charset="0"/>
              </a:rPr>
              <a:t>Respect them to stay alive</a:t>
            </a:r>
          </a:p>
        </p:txBody>
      </p:sp>
    </p:spTree>
    <p:extLst>
      <p:ext uri="{BB962C8B-B14F-4D97-AF65-F5344CB8AC3E}">
        <p14:creationId xmlns:p14="http://schemas.microsoft.com/office/powerpoint/2010/main" val="264307019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2004C369-5493-1570-1337-6DACC9B5B6C5}"/>
              </a:ext>
            </a:extLst>
          </p:cNvPr>
          <p:cNvSpPr txBox="1">
            <a:spLocks/>
          </p:cNvSpPr>
          <p:nvPr/>
        </p:nvSpPr>
        <p:spPr>
          <a:xfrm>
            <a:off x="306387" y="1312238"/>
            <a:ext cx="4140000" cy="6842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400"/>
              </a:spcBef>
              <a:buNone/>
            </a:pPr>
            <a: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follow the confined </a:t>
            </a:r>
            <a:b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pace procedure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26F6DB1-D04B-E2D1-63C1-48CBD15B88F5}"/>
              </a:ext>
            </a:extLst>
          </p:cNvPr>
          <p:cNvSpPr txBox="1">
            <a:spLocks/>
          </p:cNvSpPr>
          <p:nvPr/>
        </p:nvSpPr>
        <p:spPr bwMode="auto">
          <a:xfrm>
            <a:off x="306388" y="2434190"/>
            <a:ext cx="4265612" cy="1297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6300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1pPr>
            <a:lvl2pPr marL="405000" indent="-20359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2pPr>
            <a:lvl3pPr marL="607219" indent="-19883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3pPr>
            <a:lvl4pPr marL="810816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4pPr>
            <a:lvl5pPr marL="10144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5pPr>
            <a:lvl6pPr marL="13573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6pPr>
            <a:lvl7pPr marL="17002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7pPr>
            <a:lvl8pPr marL="20431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8pPr>
            <a:lvl9pPr marL="23860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indent="0" defTabSz="914400">
              <a:spcAft>
                <a:spcPts val="200"/>
              </a:spcAft>
              <a:buNone/>
            </a:pPr>
            <a:r>
              <a:rPr lang="en-GB" sz="900" kern="0" dirty="0"/>
              <a:t>Practical examples of expected behaviours: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understand and identify confined spaces hazards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am trained and I receive a specific work permit </a:t>
            </a:r>
            <a:br>
              <a:rPr lang="en-GB" sz="900" kern="0" dirty="0"/>
            </a:br>
            <a:r>
              <a:rPr lang="en-GB" sz="900" kern="0" dirty="0"/>
              <a:t>before entering the confined space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understand and use the controls foreseen</a:t>
            </a:r>
            <a:br>
              <a:rPr lang="en-GB" sz="900" kern="0" dirty="0"/>
            </a:br>
            <a:r>
              <a:rPr lang="en-GB" sz="900" kern="0" dirty="0"/>
              <a:t>by the risks analysis, at all times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n particular, I do not enter a confined space without an</a:t>
            </a:r>
            <a:br>
              <a:rPr lang="en-GB" sz="900" kern="0" dirty="0"/>
            </a:br>
            <a:r>
              <a:rPr lang="en-GB" sz="900" kern="0" dirty="0"/>
              <a:t>individual gas detector, and will keep it continuously operational, </a:t>
            </a:r>
            <a:br>
              <a:rPr lang="en-GB" sz="900" kern="0" dirty="0"/>
            </a:br>
            <a:r>
              <a:rPr lang="en-GB" sz="900" kern="0" dirty="0"/>
              <a:t>or, when required, an autonomous respiratory device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understand and respect gas detector alarms </a:t>
            </a:r>
            <a:br>
              <a:rPr lang="en-GB" sz="900" kern="0" dirty="0"/>
            </a:br>
            <a:r>
              <a:rPr lang="en-GB" sz="900" kern="0" dirty="0"/>
              <a:t>and corresponding evacuation rules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EAEBB885-2EDF-54BC-5856-D0BD6E135473}"/>
              </a:ext>
            </a:extLst>
          </p:cNvPr>
          <p:cNvSpPr txBox="1">
            <a:spLocks/>
          </p:cNvSpPr>
          <p:nvPr/>
        </p:nvSpPr>
        <p:spPr bwMode="auto">
          <a:xfrm>
            <a:off x="306386" y="1996451"/>
            <a:ext cx="3929437" cy="250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6300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1pPr>
            <a:lvl2pPr marL="405000" indent="-20359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2pPr>
            <a:lvl3pPr marL="607219" indent="-19883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3pPr>
            <a:lvl4pPr marL="810816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4pPr>
            <a:lvl5pPr marL="10144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5pPr>
            <a:lvl6pPr marL="13573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6pPr>
            <a:lvl7pPr marL="17002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7pPr>
            <a:lvl8pPr marL="20431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8pPr>
            <a:lvl9pPr marL="23860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indent="0" defTabSz="914400">
              <a:spcAft>
                <a:spcPts val="200"/>
              </a:spcAft>
              <a:buNone/>
            </a:pPr>
            <a:r>
              <a:rPr lang="en-GB" sz="900" kern="0" dirty="0">
                <a:solidFill>
                  <a:schemeClr val="bg2"/>
                </a:solidFill>
              </a:rPr>
              <a:t>Not involved in a fatal event since 2017 </a:t>
            </a:r>
            <a:br>
              <a:rPr lang="en-GB" sz="900" kern="0" dirty="0">
                <a:solidFill>
                  <a:schemeClr val="bg2"/>
                </a:solidFill>
              </a:rPr>
            </a:br>
            <a:r>
              <a:rPr lang="en-GB" sz="900" kern="0" dirty="0">
                <a:solidFill>
                  <a:schemeClr val="bg2"/>
                </a:solidFill>
              </a:rPr>
              <a:t>(involved several times before 2015)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FE3F9F42-DAEF-3425-B960-0E531F17914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0890" y="864000"/>
            <a:ext cx="360334" cy="360000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3EF85066-95B9-D35E-FC0B-F1BCCAAC6E2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79999" y="647999"/>
            <a:ext cx="4140000" cy="4140000"/>
          </a:xfrm>
          <a:prstGeom prst="ellipse">
            <a:avLst/>
          </a:prstGeom>
        </p:spPr>
      </p:pic>
      <p:sp>
        <p:nvSpPr>
          <p:cNvPr id="21" name="Content Placeholder 6">
            <a:extLst>
              <a:ext uri="{FF2B5EF4-FFF2-40B4-BE49-F238E27FC236}">
                <a16:creationId xmlns:a16="http://schemas.microsoft.com/office/drawing/2014/main" id="{423BAA36-EA8B-B884-0494-D11DFBECC7B0}"/>
              </a:ext>
            </a:extLst>
          </p:cNvPr>
          <p:cNvSpPr txBox="1">
            <a:spLocks/>
          </p:cNvSpPr>
          <p:nvPr/>
        </p:nvSpPr>
        <p:spPr>
          <a:xfrm>
            <a:off x="306386" y="248116"/>
            <a:ext cx="5001593" cy="37723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200"/>
              </a:lnSpc>
              <a:spcBef>
                <a:spcPts val="400"/>
              </a:spcBef>
              <a:buNone/>
            </a:pPr>
            <a:r>
              <a:rPr lang="en-US" sz="190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 Saving Golden Rules</a:t>
            </a:r>
          </a:p>
        </p:txBody>
      </p:sp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812BF466-2C9E-8203-6173-EA97D89019C5}"/>
              </a:ext>
            </a:extLst>
          </p:cNvPr>
          <p:cNvSpPr txBox="1">
            <a:spLocks/>
          </p:cNvSpPr>
          <p:nvPr/>
        </p:nvSpPr>
        <p:spPr>
          <a:xfrm>
            <a:off x="306387" y="572567"/>
            <a:ext cx="3642950" cy="2095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200" b="1" kern="0" dirty="0">
                <a:solidFill>
                  <a:srgbClr val="414141"/>
                </a:solidFill>
                <a:latin typeface="Arial" panose="020B0604020202020204" pitchFamily="34" charset="0"/>
                <a:ea typeface="MS PGothic"/>
                <a:cs typeface="Arial" panose="020B0604020202020204" pitchFamily="34" charset="0"/>
              </a:rPr>
              <a:t>Respect them to stay alive</a:t>
            </a:r>
          </a:p>
        </p:txBody>
      </p:sp>
    </p:spTree>
    <p:extLst>
      <p:ext uri="{BB962C8B-B14F-4D97-AF65-F5344CB8AC3E}">
        <p14:creationId xmlns:p14="http://schemas.microsoft.com/office/powerpoint/2010/main" val="16374635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AD23B6D4-07C4-67DB-1D6D-92549B1115F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0890" y="864000"/>
            <a:ext cx="360334" cy="360000"/>
          </a:xfrm>
          <a:prstGeom prst="rect">
            <a:avLst/>
          </a:prstGeom>
        </p:spPr>
      </p:pic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6D529B0F-B1E8-88CD-F383-9EE9E57EC47F}"/>
              </a:ext>
            </a:extLst>
          </p:cNvPr>
          <p:cNvSpPr txBox="1">
            <a:spLocks/>
          </p:cNvSpPr>
          <p:nvPr/>
        </p:nvSpPr>
        <p:spPr>
          <a:xfrm>
            <a:off x="306387" y="1294572"/>
            <a:ext cx="4444139" cy="6842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400"/>
              </a:spcBef>
              <a:buNone/>
            </a:pPr>
            <a: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respect all rules of load handling and never stand under a suspended load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5469F762-0CCE-F547-F14A-1FAA2978A26E}"/>
              </a:ext>
            </a:extLst>
          </p:cNvPr>
          <p:cNvSpPr txBox="1">
            <a:spLocks/>
          </p:cNvSpPr>
          <p:nvPr/>
        </p:nvSpPr>
        <p:spPr bwMode="auto">
          <a:xfrm>
            <a:off x="306388" y="2001439"/>
            <a:ext cx="2959326" cy="250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6300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1pPr>
            <a:lvl2pPr marL="405000" indent="-20359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2pPr>
            <a:lvl3pPr marL="607219" indent="-19883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3pPr>
            <a:lvl4pPr marL="810816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4pPr>
            <a:lvl5pPr marL="10144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5pPr>
            <a:lvl6pPr marL="13573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6pPr>
            <a:lvl7pPr marL="17002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7pPr>
            <a:lvl8pPr marL="20431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8pPr>
            <a:lvl9pPr marL="23860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indent="0" defTabSz="914400">
              <a:spcAft>
                <a:spcPts val="200"/>
              </a:spcAft>
              <a:buNone/>
            </a:pPr>
            <a:r>
              <a:rPr lang="en-GB" sz="900" kern="0" dirty="0">
                <a:solidFill>
                  <a:schemeClr val="bg2"/>
                </a:solidFill>
              </a:rPr>
              <a:t>Involved in 9 fatal events since 2017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034CB06-5CD0-2653-507A-DE54D9500158}"/>
              </a:ext>
            </a:extLst>
          </p:cNvPr>
          <p:cNvSpPr txBox="1">
            <a:spLocks/>
          </p:cNvSpPr>
          <p:nvPr/>
        </p:nvSpPr>
        <p:spPr bwMode="auto">
          <a:xfrm>
            <a:off x="306387" y="2272720"/>
            <a:ext cx="4444139" cy="1297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6300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1pPr>
            <a:lvl2pPr marL="405000" indent="-20359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2pPr>
            <a:lvl3pPr marL="607219" indent="-19883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3pPr>
            <a:lvl4pPr marL="810816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4pPr>
            <a:lvl5pPr marL="10144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5pPr>
            <a:lvl6pPr marL="13573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6pPr>
            <a:lvl7pPr marL="17002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7pPr>
            <a:lvl8pPr marL="20431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8pPr>
            <a:lvl9pPr marL="23860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indent="0" defTabSz="914400">
              <a:spcAft>
                <a:spcPts val="200"/>
              </a:spcAft>
              <a:buNone/>
            </a:pPr>
            <a:r>
              <a:rPr lang="en-GB" sz="900" kern="0" dirty="0"/>
              <a:t>Practical examples of expected behaviours: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understand and identify suspended loads and gravity energy hazards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respect all the rules of load rigging and handling. In particular, </a:t>
            </a:r>
            <a:br>
              <a:rPr lang="en-GB" sz="900" kern="0" dirty="0"/>
            </a:br>
            <a:r>
              <a:rPr lang="en-GB" sz="900" kern="0" dirty="0"/>
              <a:t>I use tag line or no touch tools for load guiding when needed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never put myself between a suspended load and a fix point, as </a:t>
            </a:r>
            <a:br>
              <a:rPr lang="en-GB" sz="900" kern="0" dirty="0"/>
            </a:br>
            <a:r>
              <a:rPr lang="en-GB" sz="900" kern="0" dirty="0"/>
              <a:t>the load might move unexpectedly or in an unanticipated direction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move away from the load BEFORE starting the lifting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never stay within the safety cone of a suspended load. </a:t>
            </a:r>
            <a:br>
              <a:rPr lang="en-GB" sz="900" kern="0" dirty="0"/>
            </a:br>
            <a:r>
              <a:rPr lang="en-GB" sz="900" kern="0" dirty="0"/>
              <a:t>When not possible, I understand and respect all </a:t>
            </a:r>
            <a:br>
              <a:rPr lang="en-GB" sz="900" kern="0" dirty="0"/>
            </a:br>
            <a:r>
              <a:rPr lang="en-GB" sz="900" kern="0" dirty="0"/>
              <a:t>the controls foreseen by the specific risks analysis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never go under or near a supported piece of equipment that has not been</a:t>
            </a:r>
            <a:br>
              <a:rPr lang="en-GB" sz="900" kern="0" dirty="0"/>
            </a:br>
            <a:r>
              <a:rPr lang="en-GB" sz="900" kern="0" dirty="0"/>
              <a:t>secured in a safe engineered way and might therefore fall/collaps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0A077D3-E790-4D71-56AC-15422D461E4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80000" y="648000"/>
            <a:ext cx="4140000" cy="4140000"/>
          </a:xfrm>
          <a:prstGeom prst="ellipse">
            <a:avLst/>
          </a:prstGeom>
        </p:spPr>
      </p:pic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F52DFDC6-2408-1150-7AB6-9082AD445863}"/>
              </a:ext>
            </a:extLst>
          </p:cNvPr>
          <p:cNvSpPr txBox="1">
            <a:spLocks/>
          </p:cNvSpPr>
          <p:nvPr/>
        </p:nvSpPr>
        <p:spPr>
          <a:xfrm>
            <a:off x="306386" y="248116"/>
            <a:ext cx="5001593" cy="37723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200"/>
              </a:lnSpc>
              <a:spcBef>
                <a:spcPts val="400"/>
              </a:spcBef>
              <a:buNone/>
            </a:pPr>
            <a:r>
              <a:rPr lang="en-US" sz="190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 Saving Golden Rules</a:t>
            </a:r>
          </a:p>
        </p:txBody>
      </p:sp>
      <p:sp>
        <p:nvSpPr>
          <p:cNvPr id="23" name="Content Placeholder 6">
            <a:extLst>
              <a:ext uri="{FF2B5EF4-FFF2-40B4-BE49-F238E27FC236}">
                <a16:creationId xmlns:a16="http://schemas.microsoft.com/office/drawing/2014/main" id="{E1190B5A-88A4-E16C-D5E3-F35A21CDE279}"/>
              </a:ext>
            </a:extLst>
          </p:cNvPr>
          <p:cNvSpPr txBox="1">
            <a:spLocks/>
          </p:cNvSpPr>
          <p:nvPr/>
        </p:nvSpPr>
        <p:spPr>
          <a:xfrm>
            <a:off x="306387" y="572567"/>
            <a:ext cx="3642950" cy="2095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200" b="1" kern="0" dirty="0">
                <a:solidFill>
                  <a:srgbClr val="414141"/>
                </a:solidFill>
                <a:latin typeface="Arial" panose="020B0604020202020204" pitchFamily="34" charset="0"/>
                <a:ea typeface="MS PGothic"/>
                <a:cs typeface="Arial" panose="020B0604020202020204" pitchFamily="34" charset="0"/>
              </a:rPr>
              <a:t>Respect them to stay alive</a:t>
            </a:r>
          </a:p>
        </p:txBody>
      </p:sp>
    </p:spTree>
    <p:extLst>
      <p:ext uri="{BB962C8B-B14F-4D97-AF65-F5344CB8AC3E}">
        <p14:creationId xmlns:p14="http://schemas.microsoft.com/office/powerpoint/2010/main" val="420700495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3129E64-D7F4-95DB-20C3-72187A7AABF1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0889" y="864000"/>
            <a:ext cx="359666" cy="360000"/>
          </a:xfrm>
          <a:prstGeom prst="rect">
            <a:avLst/>
          </a:prstGeom>
        </p:spPr>
      </p:pic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2F12DA0C-3BCA-F737-A4C1-85F2F2F8E598}"/>
              </a:ext>
            </a:extLst>
          </p:cNvPr>
          <p:cNvSpPr txBox="1">
            <a:spLocks/>
          </p:cNvSpPr>
          <p:nvPr/>
        </p:nvSpPr>
        <p:spPr>
          <a:xfrm>
            <a:off x="306387" y="1313146"/>
            <a:ext cx="3870326" cy="6842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400"/>
              </a:spcBef>
              <a:buNone/>
            </a:pPr>
            <a: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respect all traffic </a:t>
            </a:r>
            <a:b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driving ru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B8D9827A-7C05-2834-1275-73DBB4C15E2E}"/>
              </a:ext>
            </a:extLst>
          </p:cNvPr>
          <p:cNvSpPr txBox="1">
            <a:spLocks/>
          </p:cNvSpPr>
          <p:nvPr/>
        </p:nvSpPr>
        <p:spPr bwMode="auto">
          <a:xfrm>
            <a:off x="306388" y="1990861"/>
            <a:ext cx="2959326" cy="250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6300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1pPr>
            <a:lvl2pPr marL="405000" indent="-20359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2pPr>
            <a:lvl3pPr marL="607219" indent="-19883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3pPr>
            <a:lvl4pPr marL="810816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4pPr>
            <a:lvl5pPr marL="10144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5pPr>
            <a:lvl6pPr marL="13573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6pPr>
            <a:lvl7pPr marL="17002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7pPr>
            <a:lvl8pPr marL="20431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8pPr>
            <a:lvl9pPr marL="23860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indent="0" defTabSz="914400">
              <a:spcAft>
                <a:spcPts val="200"/>
              </a:spcAft>
              <a:buNone/>
            </a:pPr>
            <a:r>
              <a:rPr lang="en-GB" sz="900" kern="0" dirty="0">
                <a:solidFill>
                  <a:schemeClr val="bg2"/>
                </a:solidFill>
              </a:rPr>
              <a:t>Involved in 13 fatal events since 2017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B651EA6-2F34-DBB4-FDF5-9AB4DE3FDDA7}"/>
              </a:ext>
            </a:extLst>
          </p:cNvPr>
          <p:cNvSpPr txBox="1">
            <a:spLocks/>
          </p:cNvSpPr>
          <p:nvPr/>
        </p:nvSpPr>
        <p:spPr bwMode="auto">
          <a:xfrm>
            <a:off x="306387" y="2241686"/>
            <a:ext cx="4265613" cy="1297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6300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1pPr>
            <a:lvl2pPr marL="405000" indent="-20359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2pPr>
            <a:lvl3pPr marL="607219" indent="-19883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3pPr>
            <a:lvl4pPr marL="810816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4pPr>
            <a:lvl5pPr marL="10144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5pPr>
            <a:lvl6pPr marL="13573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6pPr>
            <a:lvl7pPr marL="17002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7pPr>
            <a:lvl8pPr marL="20431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8pPr>
            <a:lvl9pPr marL="23860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indent="0" defTabSz="914400">
              <a:spcAft>
                <a:spcPts val="200"/>
              </a:spcAft>
              <a:buNone/>
            </a:pPr>
            <a:r>
              <a:rPr lang="en-GB" sz="900" kern="0" dirty="0"/>
              <a:t>Practical examples of expected behaviours: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understand and identify vehicle hazards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respect the separation of pedestrians and vehicles at all times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understand blind spot hazards and stay away from large vehicles at all times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respect all traffic rules, in particular, I always </a:t>
            </a:r>
            <a:br>
              <a:rPr lang="en-GB" sz="900" kern="0" dirty="0"/>
            </a:br>
            <a:r>
              <a:rPr lang="en-GB" sz="900" kern="0" dirty="0"/>
              <a:t>wear the safety belt when I am in a vehicle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never drive without proper visibility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double check the application of my parking brake before leaving my vehicl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F19CA1ED-62C0-06AD-8249-08FB778C81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80000" y="648000"/>
            <a:ext cx="4140000" cy="4140000"/>
          </a:xfrm>
          <a:prstGeom prst="ellipse">
            <a:avLst/>
          </a:prstGeom>
        </p:spPr>
      </p:pic>
      <p:sp>
        <p:nvSpPr>
          <p:cNvPr id="20" name="Content Placeholder 6">
            <a:extLst>
              <a:ext uri="{FF2B5EF4-FFF2-40B4-BE49-F238E27FC236}">
                <a16:creationId xmlns:a16="http://schemas.microsoft.com/office/drawing/2014/main" id="{217040C5-0C06-53BE-C45A-8C31E33F8D8C}"/>
              </a:ext>
            </a:extLst>
          </p:cNvPr>
          <p:cNvSpPr txBox="1">
            <a:spLocks/>
          </p:cNvSpPr>
          <p:nvPr/>
        </p:nvSpPr>
        <p:spPr>
          <a:xfrm>
            <a:off x="306386" y="248116"/>
            <a:ext cx="5001593" cy="37723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200"/>
              </a:lnSpc>
              <a:spcBef>
                <a:spcPts val="400"/>
              </a:spcBef>
              <a:buNone/>
            </a:pPr>
            <a:r>
              <a:rPr lang="en-US" sz="190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 Saving Golden Rules</a:t>
            </a:r>
          </a:p>
        </p:txBody>
      </p:sp>
      <p:sp>
        <p:nvSpPr>
          <p:cNvPr id="21" name="Content Placeholder 6">
            <a:extLst>
              <a:ext uri="{FF2B5EF4-FFF2-40B4-BE49-F238E27FC236}">
                <a16:creationId xmlns:a16="http://schemas.microsoft.com/office/drawing/2014/main" id="{42A451F3-A925-C8B6-022E-8A3A3D24A1C1}"/>
              </a:ext>
            </a:extLst>
          </p:cNvPr>
          <p:cNvSpPr txBox="1">
            <a:spLocks/>
          </p:cNvSpPr>
          <p:nvPr/>
        </p:nvSpPr>
        <p:spPr>
          <a:xfrm>
            <a:off x="306387" y="572567"/>
            <a:ext cx="3642950" cy="2095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200" b="1" kern="0" dirty="0">
                <a:solidFill>
                  <a:srgbClr val="414141"/>
                </a:solidFill>
                <a:latin typeface="Arial" panose="020B0604020202020204" pitchFamily="34" charset="0"/>
                <a:ea typeface="MS PGothic"/>
                <a:cs typeface="Arial" panose="020B0604020202020204" pitchFamily="34" charset="0"/>
              </a:rPr>
              <a:t>Respect them to stay alive</a:t>
            </a:r>
          </a:p>
        </p:txBody>
      </p:sp>
    </p:spTree>
    <p:extLst>
      <p:ext uri="{BB962C8B-B14F-4D97-AF65-F5344CB8AC3E}">
        <p14:creationId xmlns:p14="http://schemas.microsoft.com/office/powerpoint/2010/main" val="9315464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0ABB7FA8-D9A2-C260-AC07-6C706054F4A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0889" y="864000"/>
            <a:ext cx="360000" cy="360000"/>
          </a:xfrm>
          <a:prstGeom prst="rect">
            <a:avLst/>
          </a:prstGeom>
        </p:spPr>
      </p:pic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00D9932F-E869-3586-74EA-77CFB26E0D43}"/>
              </a:ext>
            </a:extLst>
          </p:cNvPr>
          <p:cNvSpPr txBox="1">
            <a:spLocks/>
          </p:cNvSpPr>
          <p:nvPr/>
        </p:nvSpPr>
        <p:spPr>
          <a:xfrm>
            <a:off x="306387" y="1296340"/>
            <a:ext cx="3870325" cy="6842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400"/>
              </a:spcBef>
              <a:buNone/>
            </a:pPr>
            <a: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respect rail priority </a:t>
            </a:r>
            <a:b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d stay out of close </a:t>
            </a:r>
            <a:b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earance areas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60BA63F0-010B-BF6D-2D1E-334A872115D4}"/>
              </a:ext>
            </a:extLst>
          </p:cNvPr>
          <p:cNvSpPr txBox="1">
            <a:spLocks/>
          </p:cNvSpPr>
          <p:nvPr/>
        </p:nvSpPr>
        <p:spPr bwMode="auto">
          <a:xfrm>
            <a:off x="306387" y="2494821"/>
            <a:ext cx="4265613" cy="1297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6300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1pPr>
            <a:lvl2pPr marL="405000" indent="-20359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2pPr>
            <a:lvl3pPr marL="607219" indent="-19883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3pPr>
            <a:lvl4pPr marL="810816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4pPr>
            <a:lvl5pPr marL="10144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5pPr>
            <a:lvl6pPr marL="13573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6pPr>
            <a:lvl7pPr marL="17002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7pPr>
            <a:lvl8pPr marL="20431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8pPr>
            <a:lvl9pPr marL="23860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indent="0" defTabSz="914400">
              <a:spcAft>
                <a:spcPts val="200"/>
              </a:spcAft>
              <a:buNone/>
            </a:pPr>
            <a:r>
              <a:rPr lang="en-GB" sz="900" kern="0" dirty="0"/>
              <a:t>Practical examples of expected behaviours: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understand and identify railway hazards, including </a:t>
            </a:r>
            <a:br>
              <a:rPr lang="en-GB" sz="900" kern="0" dirty="0"/>
            </a:br>
            <a:r>
              <a:rPr lang="en-GB" sz="900" kern="0" dirty="0"/>
              <a:t>cranes on rails and transfer cars on rails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stay out of close clearances if the rail track has not been isolated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stay 3m away from a still wagon or loco when I need to cross a railway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never put myself between 2 buffers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When driving a rail vehicle, I respect the line of sight </a:t>
            </a:r>
            <a:br>
              <a:rPr lang="en-GB" sz="900" kern="0" dirty="0"/>
            </a:br>
            <a:r>
              <a:rPr lang="en-GB" sz="900" kern="0" dirty="0"/>
              <a:t>rule at all times, and all railway operation ru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DD4BD57E-7952-1002-F462-314F1CDC077A}"/>
              </a:ext>
            </a:extLst>
          </p:cNvPr>
          <p:cNvSpPr txBox="1">
            <a:spLocks/>
          </p:cNvSpPr>
          <p:nvPr/>
        </p:nvSpPr>
        <p:spPr bwMode="auto">
          <a:xfrm>
            <a:off x="306388" y="2243995"/>
            <a:ext cx="2959326" cy="250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6300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1pPr>
            <a:lvl2pPr marL="405000" indent="-20359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2pPr>
            <a:lvl3pPr marL="607219" indent="-19883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3pPr>
            <a:lvl4pPr marL="810816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4pPr>
            <a:lvl5pPr marL="10144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5pPr>
            <a:lvl6pPr marL="13573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6pPr>
            <a:lvl7pPr marL="17002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7pPr>
            <a:lvl8pPr marL="20431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8pPr>
            <a:lvl9pPr marL="23860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indent="0" defTabSz="914400">
              <a:spcAft>
                <a:spcPts val="200"/>
              </a:spcAft>
              <a:buNone/>
            </a:pPr>
            <a:r>
              <a:rPr lang="en-GB" sz="900" kern="0" dirty="0">
                <a:solidFill>
                  <a:schemeClr val="bg2"/>
                </a:solidFill>
              </a:rPr>
              <a:t>Involved in 7 fatal events since 2017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2962EF42-B8D4-A3ED-51C5-C1567339E9C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80000" y="648000"/>
            <a:ext cx="4140000" cy="4140000"/>
          </a:xfrm>
          <a:prstGeom prst="ellipse">
            <a:avLst/>
          </a:prstGeom>
        </p:spPr>
      </p:pic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A76CD959-9A0D-CCCA-D39D-CFCC126036EC}"/>
              </a:ext>
            </a:extLst>
          </p:cNvPr>
          <p:cNvSpPr txBox="1">
            <a:spLocks/>
          </p:cNvSpPr>
          <p:nvPr/>
        </p:nvSpPr>
        <p:spPr>
          <a:xfrm>
            <a:off x="306386" y="248116"/>
            <a:ext cx="5001593" cy="37723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200"/>
              </a:lnSpc>
              <a:spcBef>
                <a:spcPts val="400"/>
              </a:spcBef>
              <a:buNone/>
            </a:pPr>
            <a:r>
              <a:rPr lang="en-US" sz="190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 Saving Golden Rules</a:t>
            </a:r>
          </a:p>
        </p:txBody>
      </p:sp>
      <p:sp>
        <p:nvSpPr>
          <p:cNvPr id="23" name="Content Placeholder 6">
            <a:extLst>
              <a:ext uri="{FF2B5EF4-FFF2-40B4-BE49-F238E27FC236}">
                <a16:creationId xmlns:a16="http://schemas.microsoft.com/office/drawing/2014/main" id="{D14C2573-6848-C61D-F98C-88A61918CB94}"/>
              </a:ext>
            </a:extLst>
          </p:cNvPr>
          <p:cNvSpPr txBox="1">
            <a:spLocks/>
          </p:cNvSpPr>
          <p:nvPr/>
        </p:nvSpPr>
        <p:spPr>
          <a:xfrm>
            <a:off x="306387" y="572567"/>
            <a:ext cx="3642950" cy="2095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200" b="1" kern="0" dirty="0">
                <a:solidFill>
                  <a:srgbClr val="414141"/>
                </a:solidFill>
                <a:latin typeface="Arial" panose="020B0604020202020204" pitchFamily="34" charset="0"/>
                <a:ea typeface="MS PGothic"/>
                <a:cs typeface="Arial" panose="020B0604020202020204" pitchFamily="34" charset="0"/>
              </a:rPr>
              <a:t>Respect them to stay alive</a:t>
            </a:r>
          </a:p>
        </p:txBody>
      </p:sp>
    </p:spTree>
    <p:extLst>
      <p:ext uri="{BB962C8B-B14F-4D97-AF65-F5344CB8AC3E}">
        <p14:creationId xmlns:p14="http://schemas.microsoft.com/office/powerpoint/2010/main" val="300494864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4B2646FC-7747-B9E8-8A7B-6822603269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0889" y="864000"/>
            <a:ext cx="360000" cy="360000"/>
          </a:xfrm>
          <a:prstGeom prst="rect">
            <a:avLst/>
          </a:prstGeom>
        </p:spPr>
      </p:pic>
      <p:sp>
        <p:nvSpPr>
          <p:cNvPr id="12" name="Content Placeholder 6">
            <a:extLst>
              <a:ext uri="{FF2B5EF4-FFF2-40B4-BE49-F238E27FC236}">
                <a16:creationId xmlns:a16="http://schemas.microsoft.com/office/drawing/2014/main" id="{A0D37259-5C34-C1E5-6DDE-0EBF8DDD524D}"/>
              </a:ext>
            </a:extLst>
          </p:cNvPr>
          <p:cNvSpPr txBox="1">
            <a:spLocks/>
          </p:cNvSpPr>
          <p:nvPr/>
        </p:nvSpPr>
        <p:spPr>
          <a:xfrm>
            <a:off x="306387" y="1307634"/>
            <a:ext cx="3870325" cy="6842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400"/>
              </a:spcBef>
              <a:buNone/>
            </a:pPr>
            <a: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 respect the rules for </a:t>
            </a:r>
            <a:b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tering and working in </a:t>
            </a:r>
            <a:b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175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zardous gas areas 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F66CEE3-1582-964C-CE3A-EE4F7D0539A0}"/>
              </a:ext>
            </a:extLst>
          </p:cNvPr>
          <p:cNvSpPr txBox="1">
            <a:spLocks/>
          </p:cNvSpPr>
          <p:nvPr/>
        </p:nvSpPr>
        <p:spPr bwMode="auto">
          <a:xfrm>
            <a:off x="306388" y="2479024"/>
            <a:ext cx="4373610" cy="1297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6300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1pPr>
            <a:lvl2pPr marL="405000" indent="-20359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2pPr>
            <a:lvl3pPr marL="607219" indent="-19883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3pPr>
            <a:lvl4pPr marL="810816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4pPr>
            <a:lvl5pPr marL="10144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5pPr>
            <a:lvl6pPr marL="13573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6pPr>
            <a:lvl7pPr marL="17002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7pPr>
            <a:lvl8pPr marL="20431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8pPr>
            <a:lvl9pPr marL="23860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indent="0" defTabSz="914400">
              <a:spcAft>
                <a:spcPts val="200"/>
              </a:spcAft>
              <a:buNone/>
            </a:pPr>
            <a:r>
              <a:rPr lang="en-GB" sz="900" kern="0" dirty="0"/>
              <a:t>Practical examples of expected behaviours: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understand and can identify gas hazards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understand and use the controls foreseen by the risks analysis, at all times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wear an individual gas detector and ensure it is operational at all times</a:t>
            </a:r>
          </a:p>
          <a:p>
            <a:pPr marL="133350" indent="-133350" defTabSz="914400">
              <a:spcAft>
                <a:spcPts val="200"/>
              </a:spcAft>
              <a:buFontTx/>
              <a:buAutoNum type="alphaLcPeriod"/>
            </a:pPr>
            <a:r>
              <a:rPr lang="en-GB" sz="900" kern="0" dirty="0"/>
              <a:t>I understand and respect gas detector alarms and corresponding evacuation ru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1D24ED6D-B8EE-0FD5-E548-76A39EB73FFD}"/>
              </a:ext>
            </a:extLst>
          </p:cNvPr>
          <p:cNvSpPr txBox="1">
            <a:spLocks/>
          </p:cNvSpPr>
          <p:nvPr/>
        </p:nvSpPr>
        <p:spPr bwMode="auto">
          <a:xfrm>
            <a:off x="306387" y="2229413"/>
            <a:ext cx="3642949" cy="2508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186300" indent="-1857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2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1pPr>
            <a:lvl2pPr marL="405000" indent="-203597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10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2pPr>
            <a:lvl3pPr marL="607219" indent="-198835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3pPr>
            <a:lvl4pPr marL="810816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–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4pPr>
            <a:lvl5pPr marL="10144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»"/>
              <a:defRPr sz="800">
                <a:solidFill>
                  <a:schemeClr val="tx1"/>
                </a:solidFill>
                <a:latin typeface="+mn-lt"/>
                <a:ea typeface="MS PGothic" pitchFamily="34" charset="-128"/>
                <a:cs typeface="MS PGothic"/>
              </a:defRPr>
            </a:lvl5pPr>
            <a:lvl6pPr marL="13573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6pPr>
            <a:lvl7pPr marL="17002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7pPr>
            <a:lvl8pPr marL="20431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8pPr>
            <a:lvl9pPr marL="2386013" indent="-202406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 sz="1050">
                <a:solidFill>
                  <a:srgbClr val="333333"/>
                </a:solidFill>
                <a:latin typeface="+mn-lt"/>
                <a:ea typeface="+mn-ea"/>
              </a:defRPr>
            </a:lvl9pPr>
          </a:lstStyle>
          <a:p>
            <a:pPr marL="0" indent="0" defTabSz="914400">
              <a:spcAft>
                <a:spcPts val="200"/>
              </a:spcAft>
              <a:buNone/>
            </a:pPr>
            <a:r>
              <a:rPr lang="en-GB" sz="900" kern="0" dirty="0">
                <a:solidFill>
                  <a:schemeClr val="bg2"/>
                </a:solidFill>
              </a:rPr>
              <a:t>Involved in 5 fatal events since 2017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1073D0D1-A823-70FC-8376-0932E937506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79999" y="647998"/>
            <a:ext cx="4140000" cy="4140000"/>
          </a:xfrm>
          <a:prstGeom prst="ellipse">
            <a:avLst/>
          </a:prstGeom>
        </p:spPr>
      </p:pic>
      <p:sp>
        <p:nvSpPr>
          <p:cNvPr id="21" name="Content Placeholder 6">
            <a:extLst>
              <a:ext uri="{FF2B5EF4-FFF2-40B4-BE49-F238E27FC236}">
                <a16:creationId xmlns:a16="http://schemas.microsoft.com/office/drawing/2014/main" id="{7D1B27AD-E8DA-A29B-4937-2424C7D9617C}"/>
              </a:ext>
            </a:extLst>
          </p:cNvPr>
          <p:cNvSpPr txBox="1">
            <a:spLocks/>
          </p:cNvSpPr>
          <p:nvPr/>
        </p:nvSpPr>
        <p:spPr>
          <a:xfrm>
            <a:off x="306386" y="248116"/>
            <a:ext cx="5001593" cy="37723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2200"/>
              </a:lnSpc>
              <a:spcBef>
                <a:spcPts val="400"/>
              </a:spcBef>
              <a:buNone/>
            </a:pPr>
            <a:r>
              <a:rPr lang="en-US" sz="1900" b="1" spc="-4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ife Saving Golden Rules</a:t>
            </a:r>
          </a:p>
        </p:txBody>
      </p:sp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F81D9D23-307C-08F4-1CC3-C4602E7C5401}"/>
              </a:ext>
            </a:extLst>
          </p:cNvPr>
          <p:cNvSpPr txBox="1">
            <a:spLocks/>
          </p:cNvSpPr>
          <p:nvPr/>
        </p:nvSpPr>
        <p:spPr>
          <a:xfrm>
            <a:off x="306387" y="572567"/>
            <a:ext cx="3642950" cy="20950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36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1pPr>
            <a:lvl2pPr marL="72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2pPr>
            <a:lvl3pPr marL="108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3pPr>
            <a:lvl4pPr marL="144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4pPr>
            <a:lvl5pPr marL="1800000" indent="-360000" algn="l" defTabSz="914400" rtl="0" eaLnBrk="1" latinLnBrk="0" hangingPunct="1">
              <a:lnSpc>
                <a:spcPct val="100000"/>
              </a:lnSpc>
              <a:spcBef>
                <a:spcPts val="1200"/>
              </a:spcBef>
              <a:buFont typeface="Arial"/>
              <a:buChar char="•"/>
              <a:defRPr sz="3500" b="0" i="0" kern="1200">
                <a:solidFill>
                  <a:schemeClr val="bg1"/>
                </a:solidFill>
                <a:latin typeface="FS Elliot Light" charset="0"/>
                <a:ea typeface="FS Elliot Light" charset="0"/>
                <a:cs typeface="FS Elliot Light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0"/>
              </a:spcBef>
              <a:spcAft>
                <a:spcPts val="200"/>
              </a:spcAft>
              <a:buNone/>
            </a:pPr>
            <a:r>
              <a:rPr lang="en-GB" sz="1200" b="1" kern="0" dirty="0">
                <a:solidFill>
                  <a:srgbClr val="414141"/>
                </a:solidFill>
                <a:latin typeface="Arial" panose="020B0604020202020204" pitchFamily="34" charset="0"/>
                <a:ea typeface="MS PGothic"/>
                <a:cs typeface="Arial" panose="020B0604020202020204" pitchFamily="34" charset="0"/>
              </a:rPr>
              <a:t>Respect them to stay alive</a:t>
            </a:r>
          </a:p>
        </p:txBody>
      </p:sp>
    </p:spTree>
    <p:extLst>
      <p:ext uri="{BB962C8B-B14F-4D97-AF65-F5344CB8AC3E}">
        <p14:creationId xmlns:p14="http://schemas.microsoft.com/office/powerpoint/2010/main" val="21279622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7_PresentationV8">
  <a:themeElements>
    <a:clrScheme name="AM 2022">
      <a:dk1>
        <a:srgbClr val="414141"/>
      </a:dk1>
      <a:lt1>
        <a:srgbClr val="FFFFFF"/>
      </a:lt1>
      <a:dk2>
        <a:srgbClr val="FF3700"/>
      </a:dk2>
      <a:lt2>
        <a:srgbClr val="0070C0"/>
      </a:lt2>
      <a:accent1>
        <a:srgbClr val="460A78"/>
      </a:accent1>
      <a:accent2>
        <a:srgbClr val="BE2878"/>
      </a:accent2>
      <a:accent3>
        <a:srgbClr val="E63C41"/>
      </a:accent3>
      <a:accent4>
        <a:srgbClr val="F58746"/>
      </a:accent4>
      <a:accent5>
        <a:srgbClr val="FFBE6E"/>
      </a:accent5>
      <a:accent6>
        <a:srgbClr val="EAEAEA"/>
      </a:accent6>
      <a:hlink>
        <a:srgbClr val="505050"/>
      </a:hlink>
      <a:folHlink>
        <a:srgbClr val="414141"/>
      </a:folHlink>
    </a:clrScheme>
    <a:fontScheme name="PresentationV8">
      <a:majorFont>
        <a:latin typeface="Arial"/>
        <a:ea typeface="MS PGothic"/>
        <a:cs typeface=""/>
      </a:majorFont>
      <a:minorFont>
        <a:latin typeface="Arial"/>
        <a:ea typeface="MS PGothic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2400" b="0" i="0" u="none" strike="noStrike" cap="none" normalizeH="0" baseline="-25000" smtClean="0">
            <a:ln>
              <a:noFill/>
            </a:ln>
            <a:solidFill>
              <a:srgbClr val="FAFFFF"/>
            </a:solidFill>
            <a:effectLst/>
            <a:latin typeface="Arial" pitchFamily="34" charset="0"/>
            <a:ea typeface="MS PGothic" pitchFamily="34" charset="-128"/>
          </a:defRPr>
        </a:defPPr>
      </a:lstStyle>
    </a:lnDef>
  </a:objectDefaults>
  <a:extraClrSchemeLst>
    <a:extraClrScheme>
      <a:clrScheme name="PresentationV8 1">
        <a:dk1>
          <a:srgbClr val="696969"/>
        </a:dk1>
        <a:lt1>
          <a:srgbClr val="FFFFFF"/>
        </a:lt1>
        <a:dk2>
          <a:srgbClr val="FF3700"/>
        </a:dk2>
        <a:lt2>
          <a:srgbClr val="BAC48C"/>
        </a:lt2>
        <a:accent1>
          <a:srgbClr val="DCD4C2"/>
        </a:accent1>
        <a:accent2>
          <a:srgbClr val="C5BCA4"/>
        </a:accent2>
        <a:accent3>
          <a:srgbClr val="FFFFFF"/>
        </a:accent3>
        <a:accent4>
          <a:srgbClr val="595959"/>
        </a:accent4>
        <a:accent5>
          <a:srgbClr val="EBE6DD"/>
        </a:accent5>
        <a:accent6>
          <a:srgbClr val="B2AA94"/>
        </a:accent6>
        <a:hlink>
          <a:srgbClr val="8B819E"/>
        </a:hlink>
        <a:folHlink>
          <a:srgbClr val="9DB1C9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ArcelorMittal template 16x9" id="{2080C811-E281-4F53-A338-B1B429535C64}" vid="{EAE1C29F-A62A-497F-AC0B-627198192CC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57D28D73CC69A49AFF8B2EAB851AF89" ma:contentTypeVersion="6" ma:contentTypeDescription="Create a new document." ma:contentTypeScope="" ma:versionID="7c21052d7934a520b94a7ac2870ef41c">
  <xsd:schema xmlns:xsd="http://www.w3.org/2001/XMLSchema" xmlns:xs="http://www.w3.org/2001/XMLSchema" xmlns:p="http://schemas.microsoft.com/office/2006/metadata/properties" xmlns:ns2="a333b18a-0ffb-4e05-bf66-2113adc97fa5" xmlns:ns3="2a15d66d-7435-4992-a471-1c6c9c14bc7d" targetNamespace="http://schemas.microsoft.com/office/2006/metadata/properties" ma:root="true" ma:fieldsID="f4d1b982b1c8e4bb5b827b52e89e7c52" ns2:_="" ns3:_="">
    <xsd:import namespace="a333b18a-0ffb-4e05-bf66-2113adc97fa5"/>
    <xsd:import namespace="2a15d66d-7435-4992-a471-1c6c9c14bc7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ObjectDetectorVersion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333b18a-0ffb-4e05-bf66-2113adc97fa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ObjectDetectorVersions" ma:index="11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a15d66d-7435-4992-a471-1c6c9c14bc7d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5EDE19B-7CC4-4E93-82F0-4D95F0517EED}"/>
</file>

<file path=customXml/itemProps2.xml><?xml version="1.0" encoding="utf-8"?>
<ds:datastoreItem xmlns:ds="http://schemas.openxmlformats.org/officeDocument/2006/customXml" ds:itemID="{CE035A9C-F501-4140-8B40-9E35CE504752}"/>
</file>

<file path=customXml/itemProps3.xml><?xml version="1.0" encoding="utf-8"?>
<ds:datastoreItem xmlns:ds="http://schemas.openxmlformats.org/officeDocument/2006/customXml" ds:itemID="{DB3BE257-67AE-4A4C-86CE-F10E84D0E4FE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587</TotalTime>
  <Words>1302</Words>
  <Application>Microsoft Macintosh PowerPoint</Application>
  <PresentationFormat>On-screen Show (16:9)</PresentationFormat>
  <Paragraphs>112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5" baseType="lpstr">
      <vt:lpstr>Arial</vt:lpstr>
      <vt:lpstr>Calibri</vt:lpstr>
      <vt:lpstr>7_PresentationV8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uden, Ian</dc:creator>
  <cp:lastModifiedBy>Adam Savage</cp:lastModifiedBy>
  <cp:revision>105</cp:revision>
  <dcterms:created xsi:type="dcterms:W3CDTF">2019-08-07T16:42:59Z</dcterms:created>
  <dcterms:modified xsi:type="dcterms:W3CDTF">2022-06-07T14:40:4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7D28D73CC69A49AFF8B2EAB851AF89</vt:lpwstr>
  </property>
</Properties>
</file>